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3" r:id="rId2"/>
    <p:sldId id="271" r:id="rId3"/>
    <p:sldId id="286" r:id="rId4"/>
    <p:sldId id="272" r:id="rId5"/>
    <p:sldId id="285" r:id="rId6"/>
    <p:sldId id="273" r:id="rId7"/>
    <p:sldId id="274" r:id="rId8"/>
    <p:sldId id="275" r:id="rId9"/>
    <p:sldId id="276" r:id="rId10"/>
    <p:sldId id="277" r:id="rId11"/>
    <p:sldId id="287" r:id="rId12"/>
    <p:sldId id="278" r:id="rId13"/>
    <p:sldId id="279" r:id="rId14"/>
    <p:sldId id="270" r:id="rId15"/>
  </p:sldIdLst>
  <p:sldSz cx="12192000" cy="6858000"/>
  <p:notesSz cx="6858000" cy="9144000"/>
  <p:custDataLst>
    <p:tags r:id="rId16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oelichting" id="{F83D3667-AD78-4951-8BD1-77B6A5288ECC}">
          <p14:sldIdLst/>
        </p14:section>
        <p14:section name="Openingsslide" id="{78E5389A-0F6A-44AC-8353-54A3FCCC18E7}">
          <p14:sldIdLst/>
        </p14:section>
        <p14:section name="Titeldia's" id="{743E7F86-A821-41F1-99AE-007948AC9C9F}">
          <p14:sldIdLst>
            <p14:sldId id="263"/>
            <p14:sldId id="271"/>
          </p14:sldIdLst>
        </p14:section>
        <p14:section name="Content" id="{87DB367C-CD6D-49A8-937D-3207518EFEAC}">
          <p14:sldIdLst>
            <p14:sldId id="286"/>
            <p14:sldId id="272"/>
            <p14:sldId id="285"/>
            <p14:sldId id="273"/>
            <p14:sldId id="274"/>
            <p14:sldId id="275"/>
            <p14:sldId id="276"/>
            <p14:sldId id="277"/>
          </p14:sldIdLst>
        </p14:section>
        <p14:section name="Wrap-up" id="{454D63C7-F786-462E-8E5C-00166C78C9CA}">
          <p14:sldIdLst>
            <p14:sldId id="287"/>
            <p14:sldId id="278"/>
            <p14:sldId id="279"/>
          </p14:sldIdLst>
        </p14:section>
        <p14:section name="Evaluation QR" id="{F6EF2391-635B-449E-BCFC-5F39C1D927C2}">
          <p14:sldIdLst>
            <p14:sldId id="270"/>
          </p14:sldIdLst>
        </p14:section>
        <p14:section name="partnerslide" id="{03F7539A-5320-4B2A-AB62-C6F13B30ABCF}">
          <p14:sldIdLst/>
        </p14:section>
      </p14:sectionLst>
    </p:ext>
    <p:ext uri="{EFAFB233-063F-42B5-8137-9DF3F51BA10A}">
      <p15:sldGuideLst xmlns:p15="http://schemas.microsoft.com/office/powerpoint/2012/main">
        <p15:guide id="1" pos="325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197278"/>
    <a:srgbClr val="4668C5"/>
    <a:srgbClr val="C94F0F"/>
    <a:srgbClr val="B60064"/>
    <a:srgbClr val="DDDAD7"/>
    <a:srgbClr val="F3F2F1"/>
    <a:srgbClr val="F2C811"/>
    <a:srgbClr val="12239E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51932D5-6311-41D2-86BD-382E555B8B3D}" v="199" dt="2024-03-07T23:25:01.26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>
        <p:scale>
          <a:sx n="75" d="100"/>
          <a:sy n="75" d="100"/>
        </p:scale>
        <p:origin x="324" y="48"/>
      </p:cViewPr>
      <p:guideLst>
        <p:guide pos="325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78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onneke Opsteegh" userId="ec2a11b1-c5a7-4109-83b7-7550d0e8e4d6" providerId="ADAL" clId="{F16F0611-EF83-4248-AE98-4DF2AC4DA88B}"/>
    <pc:docChg chg="undo custSel addSld delSld modSld sldOrd modMainMaster addSection modSection">
      <pc:chgData name="Lonneke Opsteegh" userId="ec2a11b1-c5a7-4109-83b7-7550d0e8e4d6" providerId="ADAL" clId="{F16F0611-EF83-4248-AE98-4DF2AC4DA88B}" dt="2023-02-14T15:06:55.893" v="1546" actId="14100"/>
      <pc:docMkLst>
        <pc:docMk/>
      </pc:docMkLst>
      <pc:sldChg chg="del">
        <pc:chgData name="Lonneke Opsteegh" userId="ec2a11b1-c5a7-4109-83b7-7550d0e8e4d6" providerId="ADAL" clId="{F16F0611-EF83-4248-AE98-4DF2AC4DA88B}" dt="2023-02-02T13:18:11.067" v="376" actId="2696"/>
        <pc:sldMkLst>
          <pc:docMk/>
          <pc:sldMk cId="4160661199" sldId="256"/>
        </pc:sldMkLst>
      </pc:sldChg>
      <pc:sldChg chg="del">
        <pc:chgData name="Lonneke Opsteegh" userId="ec2a11b1-c5a7-4109-83b7-7550d0e8e4d6" providerId="ADAL" clId="{F16F0611-EF83-4248-AE98-4DF2AC4DA88B}" dt="2023-02-02T13:26:59.105" v="524" actId="2696"/>
        <pc:sldMkLst>
          <pc:docMk/>
          <pc:sldMk cId="2428878521" sldId="257"/>
        </pc:sldMkLst>
      </pc:sldChg>
      <pc:sldChg chg="addSp delSp modSp mod ord">
        <pc:chgData name="Lonneke Opsteegh" userId="ec2a11b1-c5a7-4109-83b7-7550d0e8e4d6" providerId="ADAL" clId="{F16F0611-EF83-4248-AE98-4DF2AC4DA88B}" dt="2023-02-02T13:17:59.775" v="371"/>
        <pc:sldMkLst>
          <pc:docMk/>
          <pc:sldMk cId="1301266824" sldId="258"/>
        </pc:sldMkLst>
        <pc:spChg chg="mod">
          <ac:chgData name="Lonneke Opsteegh" userId="ec2a11b1-c5a7-4109-83b7-7550d0e8e4d6" providerId="ADAL" clId="{F16F0611-EF83-4248-AE98-4DF2AC4DA88B}" dt="2023-02-02T13:16:14.637" v="231"/>
          <ac:spMkLst>
            <pc:docMk/>
            <pc:sldMk cId="1301266824" sldId="258"/>
            <ac:spMk id="2" creationId="{138D5C59-BD8C-38FB-8C1C-8EE5BAA73B2D}"/>
          </ac:spMkLst>
        </pc:spChg>
        <pc:spChg chg="add del mod">
          <ac:chgData name="Lonneke Opsteegh" userId="ec2a11b1-c5a7-4109-83b7-7550d0e8e4d6" providerId="ADAL" clId="{F16F0611-EF83-4248-AE98-4DF2AC4DA88B}" dt="2023-02-02T13:16:14.637" v="231"/>
          <ac:spMkLst>
            <pc:docMk/>
            <pc:sldMk cId="1301266824" sldId="258"/>
            <ac:spMk id="3" creationId="{827A91B0-E0A1-B35A-541F-6B1FFAF70B47}"/>
          </ac:spMkLst>
        </pc:spChg>
        <pc:spChg chg="mod">
          <ac:chgData name="Lonneke Opsteegh" userId="ec2a11b1-c5a7-4109-83b7-7550d0e8e4d6" providerId="ADAL" clId="{F16F0611-EF83-4248-AE98-4DF2AC4DA88B}" dt="2023-02-02T13:16:14.637" v="231"/>
          <ac:spMkLst>
            <pc:docMk/>
            <pc:sldMk cId="1301266824" sldId="258"/>
            <ac:spMk id="4" creationId="{45B470D5-021F-B321-3BF5-994D4360B211}"/>
          </ac:spMkLst>
        </pc:spChg>
        <pc:spChg chg="add del mod">
          <ac:chgData name="Lonneke Opsteegh" userId="ec2a11b1-c5a7-4109-83b7-7550d0e8e4d6" providerId="ADAL" clId="{F16F0611-EF83-4248-AE98-4DF2AC4DA88B}" dt="2023-02-02T13:16:14.637" v="231"/>
          <ac:spMkLst>
            <pc:docMk/>
            <pc:sldMk cId="1301266824" sldId="258"/>
            <ac:spMk id="5" creationId="{43C53B8F-B2E2-6436-C9CE-DE801CA3CD9B}"/>
          </ac:spMkLst>
        </pc:spChg>
      </pc:sldChg>
      <pc:sldChg chg="modSp mod ord">
        <pc:chgData name="Lonneke Opsteegh" userId="ec2a11b1-c5a7-4109-83b7-7550d0e8e4d6" providerId="ADAL" clId="{F16F0611-EF83-4248-AE98-4DF2AC4DA88B}" dt="2023-02-02T13:18:42.915" v="406"/>
        <pc:sldMkLst>
          <pc:docMk/>
          <pc:sldMk cId="1325477011" sldId="259"/>
        </pc:sldMkLst>
        <pc:spChg chg="mod">
          <ac:chgData name="Lonneke Opsteegh" userId="ec2a11b1-c5a7-4109-83b7-7550d0e8e4d6" providerId="ADAL" clId="{F16F0611-EF83-4248-AE98-4DF2AC4DA88B}" dt="2023-02-02T13:16:22.470" v="249" actId="20577"/>
          <ac:spMkLst>
            <pc:docMk/>
            <pc:sldMk cId="1325477011" sldId="259"/>
            <ac:spMk id="2" creationId="{8F89ECEB-720D-B01E-4DEF-EE06C716951E}"/>
          </ac:spMkLst>
        </pc:spChg>
        <pc:spChg chg="mod">
          <ac:chgData name="Lonneke Opsteegh" userId="ec2a11b1-c5a7-4109-83b7-7550d0e8e4d6" providerId="ADAL" clId="{F16F0611-EF83-4248-AE98-4DF2AC4DA88B}" dt="2023-02-02T13:16:25.884" v="261" actId="20577"/>
          <ac:spMkLst>
            <pc:docMk/>
            <pc:sldMk cId="1325477011" sldId="259"/>
            <ac:spMk id="5" creationId="{B0481808-746A-31FD-DC53-8019B6181286}"/>
          </ac:spMkLst>
        </pc:spChg>
      </pc:sldChg>
      <pc:sldChg chg="modSp mod">
        <pc:chgData name="Lonneke Opsteegh" userId="ec2a11b1-c5a7-4109-83b7-7550d0e8e4d6" providerId="ADAL" clId="{F16F0611-EF83-4248-AE98-4DF2AC4DA88B}" dt="2023-02-02T13:17:53.921" v="369" actId="20577"/>
        <pc:sldMkLst>
          <pc:docMk/>
          <pc:sldMk cId="4187456339" sldId="260"/>
        </pc:sldMkLst>
        <pc:spChg chg="mod">
          <ac:chgData name="Lonneke Opsteegh" userId="ec2a11b1-c5a7-4109-83b7-7550d0e8e4d6" providerId="ADAL" clId="{F16F0611-EF83-4248-AE98-4DF2AC4DA88B}" dt="2023-02-02T13:17:50.403" v="357" actId="20577"/>
          <ac:spMkLst>
            <pc:docMk/>
            <pc:sldMk cId="4187456339" sldId="260"/>
            <ac:spMk id="2" creationId="{9E429EE1-2A03-DCF4-864B-6CA43EEF0937}"/>
          </ac:spMkLst>
        </pc:spChg>
        <pc:spChg chg="mod">
          <ac:chgData name="Lonneke Opsteegh" userId="ec2a11b1-c5a7-4109-83b7-7550d0e8e4d6" providerId="ADAL" clId="{F16F0611-EF83-4248-AE98-4DF2AC4DA88B}" dt="2023-02-02T13:17:53.921" v="369" actId="20577"/>
          <ac:spMkLst>
            <pc:docMk/>
            <pc:sldMk cId="4187456339" sldId="260"/>
            <ac:spMk id="3" creationId="{DFBB7D0C-60F3-CC17-FA6D-B00D08DA043A}"/>
          </ac:spMkLst>
        </pc:spChg>
      </pc:sldChg>
      <pc:sldChg chg="addSp delSp modSp mod ord">
        <pc:chgData name="Lonneke Opsteegh" userId="ec2a11b1-c5a7-4109-83b7-7550d0e8e4d6" providerId="ADAL" clId="{F16F0611-EF83-4248-AE98-4DF2AC4DA88B}" dt="2023-02-02T13:25:19.431" v="508" actId="21"/>
        <pc:sldMkLst>
          <pc:docMk/>
          <pc:sldMk cId="4049822668" sldId="261"/>
        </pc:sldMkLst>
        <pc:spChg chg="mod">
          <ac:chgData name="Lonneke Opsteegh" userId="ec2a11b1-c5a7-4109-83b7-7550d0e8e4d6" providerId="ADAL" clId="{F16F0611-EF83-4248-AE98-4DF2AC4DA88B}" dt="2023-02-02T13:16:44.831" v="276" actId="20577"/>
          <ac:spMkLst>
            <pc:docMk/>
            <pc:sldMk cId="4049822668" sldId="261"/>
            <ac:spMk id="2" creationId="{889E657B-4D32-2B3D-9FE5-B92724AEAFAE}"/>
          </ac:spMkLst>
        </pc:spChg>
        <pc:spChg chg="mod">
          <ac:chgData name="Lonneke Opsteegh" userId="ec2a11b1-c5a7-4109-83b7-7550d0e8e4d6" providerId="ADAL" clId="{F16F0611-EF83-4248-AE98-4DF2AC4DA88B}" dt="2023-02-02T13:16:49.971" v="288" actId="20577"/>
          <ac:spMkLst>
            <pc:docMk/>
            <pc:sldMk cId="4049822668" sldId="261"/>
            <ac:spMk id="3" creationId="{42031285-D413-E145-6295-E8114A33E13B}"/>
          </ac:spMkLst>
        </pc:spChg>
        <pc:spChg chg="del">
          <ac:chgData name="Lonneke Opsteegh" userId="ec2a11b1-c5a7-4109-83b7-7550d0e8e4d6" providerId="ADAL" clId="{F16F0611-EF83-4248-AE98-4DF2AC4DA88B}" dt="2023-02-02T13:16:37.145" v="263" actId="478"/>
          <ac:spMkLst>
            <pc:docMk/>
            <pc:sldMk cId="4049822668" sldId="261"/>
            <ac:spMk id="4" creationId="{E36BBEF3-471D-54EB-AF64-0C25B5412F83}"/>
          </ac:spMkLst>
        </pc:spChg>
        <pc:spChg chg="add del mod">
          <ac:chgData name="Lonneke Opsteegh" userId="ec2a11b1-c5a7-4109-83b7-7550d0e8e4d6" providerId="ADAL" clId="{F16F0611-EF83-4248-AE98-4DF2AC4DA88B}" dt="2023-02-02T13:16:39.770" v="264"/>
          <ac:spMkLst>
            <pc:docMk/>
            <pc:sldMk cId="4049822668" sldId="261"/>
            <ac:spMk id="5" creationId="{DCE9D648-905D-C229-0DF3-D63D73775AD5}"/>
          </ac:spMkLst>
        </pc:spChg>
        <pc:spChg chg="add del mod">
          <ac:chgData name="Lonneke Opsteegh" userId="ec2a11b1-c5a7-4109-83b7-7550d0e8e4d6" providerId="ADAL" clId="{F16F0611-EF83-4248-AE98-4DF2AC4DA88B}" dt="2023-02-02T13:16:39.770" v="264"/>
          <ac:spMkLst>
            <pc:docMk/>
            <pc:sldMk cId="4049822668" sldId="261"/>
            <ac:spMk id="6" creationId="{F8A81FD8-0DF9-E47D-F659-89A6B291024F}"/>
          </ac:spMkLst>
        </pc:spChg>
        <pc:spChg chg="add del mod ord">
          <ac:chgData name="Lonneke Opsteegh" userId="ec2a11b1-c5a7-4109-83b7-7550d0e8e4d6" providerId="ADAL" clId="{F16F0611-EF83-4248-AE98-4DF2AC4DA88B}" dt="2023-02-02T13:20:37.914" v="433" actId="21"/>
          <ac:spMkLst>
            <pc:docMk/>
            <pc:sldMk cId="4049822668" sldId="261"/>
            <ac:spMk id="13" creationId="{4D117172-7FFF-177F-19FE-02BD4064FBB7}"/>
          </ac:spMkLst>
        </pc:spChg>
        <pc:spChg chg="add del mod">
          <ac:chgData name="Lonneke Opsteegh" userId="ec2a11b1-c5a7-4109-83b7-7550d0e8e4d6" providerId="ADAL" clId="{F16F0611-EF83-4248-AE98-4DF2AC4DA88B}" dt="2023-02-02T13:23:40.149" v="486" actId="478"/>
          <ac:spMkLst>
            <pc:docMk/>
            <pc:sldMk cId="4049822668" sldId="261"/>
            <ac:spMk id="14" creationId="{0B399751-7522-F1E2-E99F-212CB9C05BE4}"/>
          </ac:spMkLst>
        </pc:spChg>
        <pc:spChg chg="add del mod">
          <ac:chgData name="Lonneke Opsteegh" userId="ec2a11b1-c5a7-4109-83b7-7550d0e8e4d6" providerId="ADAL" clId="{F16F0611-EF83-4248-AE98-4DF2AC4DA88B}" dt="2023-02-02T13:23:40.149" v="486" actId="478"/>
          <ac:spMkLst>
            <pc:docMk/>
            <pc:sldMk cId="4049822668" sldId="261"/>
            <ac:spMk id="15" creationId="{967723B9-A2A7-1CF8-D7F7-CE7B5D7FB3AA}"/>
          </ac:spMkLst>
        </pc:spChg>
        <pc:grpChg chg="add del mod">
          <ac:chgData name="Lonneke Opsteegh" userId="ec2a11b1-c5a7-4109-83b7-7550d0e8e4d6" providerId="ADAL" clId="{F16F0611-EF83-4248-AE98-4DF2AC4DA88B}" dt="2023-02-02T13:25:10.119" v="506" actId="165"/>
          <ac:grpSpMkLst>
            <pc:docMk/>
            <pc:sldMk cId="4049822668" sldId="261"/>
            <ac:grpSpMk id="20" creationId="{2BD0FBA1-DFD5-8F2F-A608-1810FCE24F71}"/>
          </ac:grpSpMkLst>
        </pc:grpChg>
        <pc:picChg chg="add del mod topLvl">
          <ac:chgData name="Lonneke Opsteegh" userId="ec2a11b1-c5a7-4109-83b7-7550d0e8e4d6" providerId="ADAL" clId="{F16F0611-EF83-4248-AE98-4DF2AC4DA88B}" dt="2023-02-02T13:25:19.431" v="508" actId="21"/>
          <ac:picMkLst>
            <pc:docMk/>
            <pc:sldMk cId="4049822668" sldId="261"/>
            <ac:picMk id="7" creationId="{8767D08F-A81F-957C-4EF1-34123018374D}"/>
          </ac:picMkLst>
        </pc:picChg>
        <pc:picChg chg="add del mod topLvl">
          <ac:chgData name="Lonneke Opsteegh" userId="ec2a11b1-c5a7-4109-83b7-7550d0e8e4d6" providerId="ADAL" clId="{F16F0611-EF83-4248-AE98-4DF2AC4DA88B}" dt="2023-02-02T13:25:19.431" v="508" actId="21"/>
          <ac:picMkLst>
            <pc:docMk/>
            <pc:sldMk cId="4049822668" sldId="261"/>
            <ac:picMk id="8" creationId="{CB42370C-479F-2F22-419F-F298844E6B21}"/>
          </ac:picMkLst>
        </pc:picChg>
        <pc:picChg chg="add del mod topLvl">
          <ac:chgData name="Lonneke Opsteegh" userId="ec2a11b1-c5a7-4109-83b7-7550d0e8e4d6" providerId="ADAL" clId="{F16F0611-EF83-4248-AE98-4DF2AC4DA88B}" dt="2023-02-02T13:25:19.431" v="508" actId="21"/>
          <ac:picMkLst>
            <pc:docMk/>
            <pc:sldMk cId="4049822668" sldId="261"/>
            <ac:picMk id="9" creationId="{86535C14-4474-B1EF-2FE3-DCCA636668D7}"/>
          </ac:picMkLst>
        </pc:picChg>
        <pc:picChg chg="add del mod topLvl modCrop">
          <ac:chgData name="Lonneke Opsteegh" userId="ec2a11b1-c5a7-4109-83b7-7550d0e8e4d6" providerId="ADAL" clId="{F16F0611-EF83-4248-AE98-4DF2AC4DA88B}" dt="2023-02-02T13:25:19.431" v="508" actId="21"/>
          <ac:picMkLst>
            <pc:docMk/>
            <pc:sldMk cId="4049822668" sldId="261"/>
            <ac:picMk id="10" creationId="{D3A13FA3-5FAF-D196-495A-4A0E19918A64}"/>
          </ac:picMkLst>
        </pc:picChg>
        <pc:picChg chg="add mod">
          <ac:chgData name="Lonneke Opsteegh" userId="ec2a11b1-c5a7-4109-83b7-7550d0e8e4d6" providerId="ADAL" clId="{F16F0611-EF83-4248-AE98-4DF2AC4DA88B}" dt="2023-02-02T13:19:50.445" v="424" actId="571"/>
          <ac:picMkLst>
            <pc:docMk/>
            <pc:sldMk cId="4049822668" sldId="261"/>
            <ac:picMk id="11" creationId="{786C78FF-E700-C3DA-1B27-00FE72F58499}"/>
          </ac:picMkLst>
        </pc:picChg>
        <pc:picChg chg="add mod">
          <ac:chgData name="Lonneke Opsteegh" userId="ec2a11b1-c5a7-4109-83b7-7550d0e8e4d6" providerId="ADAL" clId="{F16F0611-EF83-4248-AE98-4DF2AC4DA88B}" dt="2023-02-02T13:19:50.445" v="424" actId="571"/>
          <ac:picMkLst>
            <pc:docMk/>
            <pc:sldMk cId="4049822668" sldId="261"/>
            <ac:picMk id="12" creationId="{0C0085E8-7333-31E2-4690-456138426BA9}"/>
          </ac:picMkLst>
        </pc:picChg>
        <pc:picChg chg="add del mod">
          <ac:chgData name="Lonneke Opsteegh" userId="ec2a11b1-c5a7-4109-83b7-7550d0e8e4d6" providerId="ADAL" clId="{F16F0611-EF83-4248-AE98-4DF2AC4DA88B}" dt="2023-02-02T13:24:36.243" v="501" actId="478"/>
          <ac:picMkLst>
            <pc:docMk/>
            <pc:sldMk cId="4049822668" sldId="261"/>
            <ac:picMk id="16" creationId="{547166CD-10B0-CCA9-AB20-A432C71566D5}"/>
          </ac:picMkLst>
        </pc:picChg>
        <pc:picChg chg="add del mod">
          <ac:chgData name="Lonneke Opsteegh" userId="ec2a11b1-c5a7-4109-83b7-7550d0e8e4d6" providerId="ADAL" clId="{F16F0611-EF83-4248-AE98-4DF2AC4DA88B}" dt="2023-02-02T13:24:36.243" v="501" actId="478"/>
          <ac:picMkLst>
            <pc:docMk/>
            <pc:sldMk cId="4049822668" sldId="261"/>
            <ac:picMk id="17" creationId="{17B9FD4E-A4E9-57A3-4150-9058E26D5365}"/>
          </ac:picMkLst>
        </pc:picChg>
        <pc:picChg chg="add mod">
          <ac:chgData name="Lonneke Opsteegh" userId="ec2a11b1-c5a7-4109-83b7-7550d0e8e4d6" providerId="ADAL" clId="{F16F0611-EF83-4248-AE98-4DF2AC4DA88B}" dt="2023-02-02T13:24:16.770" v="493" actId="571"/>
          <ac:picMkLst>
            <pc:docMk/>
            <pc:sldMk cId="4049822668" sldId="261"/>
            <ac:picMk id="18" creationId="{C1D68D57-ED80-3A88-1198-68C216AEC4FA}"/>
          </ac:picMkLst>
        </pc:picChg>
        <pc:picChg chg="add mod">
          <ac:chgData name="Lonneke Opsteegh" userId="ec2a11b1-c5a7-4109-83b7-7550d0e8e4d6" providerId="ADAL" clId="{F16F0611-EF83-4248-AE98-4DF2AC4DA88B}" dt="2023-02-02T13:24:16.770" v="493" actId="571"/>
          <ac:picMkLst>
            <pc:docMk/>
            <pc:sldMk cId="4049822668" sldId="261"/>
            <ac:picMk id="19" creationId="{8E9AADEC-53A0-6671-0E4E-0840FE42B465}"/>
          </ac:picMkLst>
        </pc:picChg>
        <pc:picChg chg="del">
          <ac:chgData name="Lonneke Opsteegh" userId="ec2a11b1-c5a7-4109-83b7-7550d0e8e4d6" providerId="ADAL" clId="{F16F0611-EF83-4248-AE98-4DF2AC4DA88B}" dt="2023-02-02T13:16:33.087" v="262" actId="478"/>
          <ac:picMkLst>
            <pc:docMk/>
            <pc:sldMk cId="4049822668" sldId="261"/>
            <ac:picMk id="1026" creationId="{61527530-91CE-65F2-5A82-9A1D7B17F36A}"/>
          </ac:picMkLst>
        </pc:picChg>
      </pc:sldChg>
      <pc:sldChg chg="del">
        <pc:chgData name="Lonneke Opsteegh" userId="ec2a11b1-c5a7-4109-83b7-7550d0e8e4d6" providerId="ADAL" clId="{F16F0611-EF83-4248-AE98-4DF2AC4DA88B}" dt="2023-02-02T13:26:38.643" v="521" actId="2696"/>
        <pc:sldMkLst>
          <pc:docMk/>
          <pc:sldMk cId="3895329891" sldId="262"/>
        </pc:sldMkLst>
      </pc:sldChg>
      <pc:sldChg chg="addSp delSp modSp mod">
        <pc:chgData name="Lonneke Opsteegh" userId="ec2a11b1-c5a7-4109-83b7-7550d0e8e4d6" providerId="ADAL" clId="{F16F0611-EF83-4248-AE98-4DF2AC4DA88B}" dt="2023-02-12T19:25:43.238" v="775" actId="21"/>
        <pc:sldMkLst>
          <pc:docMk/>
          <pc:sldMk cId="791576755" sldId="263"/>
        </pc:sldMkLst>
        <pc:spChg chg="mod">
          <ac:chgData name="Lonneke Opsteegh" userId="ec2a11b1-c5a7-4109-83b7-7550d0e8e4d6" providerId="ADAL" clId="{F16F0611-EF83-4248-AE98-4DF2AC4DA88B}" dt="2023-02-02T13:18:31.782" v="392" actId="20577"/>
          <ac:spMkLst>
            <pc:docMk/>
            <pc:sldMk cId="791576755" sldId="263"/>
            <ac:spMk id="2" creationId="{27087007-5F2C-A7B2-FEF1-DFE6D76528D1}"/>
          </ac:spMkLst>
        </pc:spChg>
        <pc:spChg chg="mod">
          <ac:chgData name="Lonneke Opsteegh" userId="ec2a11b1-c5a7-4109-83b7-7550d0e8e4d6" providerId="ADAL" clId="{F16F0611-EF83-4248-AE98-4DF2AC4DA88B}" dt="2023-02-02T13:18:35.659" v="404" actId="20577"/>
          <ac:spMkLst>
            <pc:docMk/>
            <pc:sldMk cId="791576755" sldId="263"/>
            <ac:spMk id="3" creationId="{B687B94E-33A6-3943-016E-D0856839D2C8}"/>
          </ac:spMkLst>
        </pc:spChg>
        <pc:spChg chg="del">
          <ac:chgData name="Lonneke Opsteegh" userId="ec2a11b1-c5a7-4109-83b7-7550d0e8e4d6" providerId="ADAL" clId="{F16F0611-EF83-4248-AE98-4DF2AC4DA88B}" dt="2023-02-02T13:18:21.535" v="378" actId="478"/>
          <ac:spMkLst>
            <pc:docMk/>
            <pc:sldMk cId="791576755" sldId="263"/>
            <ac:spMk id="4" creationId="{F69D6C4B-DC92-4719-9773-7A00F49390FB}"/>
          </ac:spMkLst>
        </pc:spChg>
        <pc:spChg chg="del">
          <ac:chgData name="Lonneke Opsteegh" userId="ec2a11b1-c5a7-4109-83b7-7550d0e8e4d6" providerId="ADAL" clId="{F16F0611-EF83-4248-AE98-4DF2AC4DA88B}" dt="2023-02-02T13:18:24.694" v="379" actId="478"/>
          <ac:spMkLst>
            <pc:docMk/>
            <pc:sldMk cId="791576755" sldId="263"/>
            <ac:spMk id="5" creationId="{D6978389-85D1-AB4B-3FA8-7A3644B58D19}"/>
          </ac:spMkLst>
        </pc:spChg>
        <pc:spChg chg="del">
          <ac:chgData name="Lonneke Opsteegh" userId="ec2a11b1-c5a7-4109-83b7-7550d0e8e4d6" providerId="ADAL" clId="{F16F0611-EF83-4248-AE98-4DF2AC4DA88B}" dt="2023-02-02T13:18:24.694" v="379" actId="478"/>
          <ac:spMkLst>
            <pc:docMk/>
            <pc:sldMk cId="791576755" sldId="263"/>
            <ac:spMk id="6" creationId="{75AE17D0-1B9B-863D-1AEA-80A2E1E187F8}"/>
          </ac:spMkLst>
        </pc:spChg>
        <pc:spChg chg="del">
          <ac:chgData name="Lonneke Opsteegh" userId="ec2a11b1-c5a7-4109-83b7-7550d0e8e4d6" providerId="ADAL" clId="{F16F0611-EF83-4248-AE98-4DF2AC4DA88B}" dt="2023-02-02T13:18:21.535" v="378" actId="478"/>
          <ac:spMkLst>
            <pc:docMk/>
            <pc:sldMk cId="791576755" sldId="263"/>
            <ac:spMk id="7" creationId="{8C9CCAFE-4D4C-7D8F-B002-2D17541B24DB}"/>
          </ac:spMkLst>
        </pc:spChg>
        <pc:spChg chg="del">
          <ac:chgData name="Lonneke Opsteegh" userId="ec2a11b1-c5a7-4109-83b7-7550d0e8e4d6" providerId="ADAL" clId="{F16F0611-EF83-4248-AE98-4DF2AC4DA88B}" dt="2023-02-02T13:18:21.535" v="378" actId="478"/>
          <ac:spMkLst>
            <pc:docMk/>
            <pc:sldMk cId="791576755" sldId="263"/>
            <ac:spMk id="8" creationId="{9051BC77-E065-103B-8841-9F4F98A11F9C}"/>
          </ac:spMkLst>
        </pc:spChg>
        <pc:spChg chg="del">
          <ac:chgData name="Lonneke Opsteegh" userId="ec2a11b1-c5a7-4109-83b7-7550d0e8e4d6" providerId="ADAL" clId="{F16F0611-EF83-4248-AE98-4DF2AC4DA88B}" dt="2023-02-02T13:18:21.535" v="378" actId="478"/>
          <ac:spMkLst>
            <pc:docMk/>
            <pc:sldMk cId="791576755" sldId="263"/>
            <ac:spMk id="9" creationId="{E3BBDD3E-5418-D69D-E7FE-3DD6922B656D}"/>
          </ac:spMkLst>
        </pc:spChg>
        <pc:spChg chg="add del mod">
          <ac:chgData name="Lonneke Opsteegh" userId="ec2a11b1-c5a7-4109-83b7-7550d0e8e4d6" providerId="ADAL" clId="{F16F0611-EF83-4248-AE98-4DF2AC4DA88B}" dt="2023-02-02T13:18:21.535" v="378" actId="478"/>
          <ac:spMkLst>
            <pc:docMk/>
            <pc:sldMk cId="791576755" sldId="263"/>
            <ac:spMk id="10" creationId="{CB55A9EC-E483-1809-C8BA-7D55D2B5F19D}"/>
          </ac:spMkLst>
        </pc:spChg>
        <pc:spChg chg="add del mod">
          <ac:chgData name="Lonneke Opsteegh" userId="ec2a11b1-c5a7-4109-83b7-7550d0e8e4d6" providerId="ADAL" clId="{F16F0611-EF83-4248-AE98-4DF2AC4DA88B}" dt="2023-02-02T13:18:21.535" v="378" actId="478"/>
          <ac:spMkLst>
            <pc:docMk/>
            <pc:sldMk cId="791576755" sldId="263"/>
            <ac:spMk id="11" creationId="{9B687816-9C0C-E5FB-DA08-583E06BFCD5F}"/>
          </ac:spMkLst>
        </pc:spChg>
        <pc:spChg chg="add del mod">
          <ac:chgData name="Lonneke Opsteegh" userId="ec2a11b1-c5a7-4109-83b7-7550d0e8e4d6" providerId="ADAL" clId="{F16F0611-EF83-4248-AE98-4DF2AC4DA88B}" dt="2023-02-02T13:18:26.840" v="380"/>
          <ac:spMkLst>
            <pc:docMk/>
            <pc:sldMk cId="791576755" sldId="263"/>
            <ac:spMk id="12" creationId="{94BAB2D3-DB70-377B-B80F-3F41DDC9F61C}"/>
          </ac:spMkLst>
        </pc:spChg>
        <pc:spChg chg="add del mod">
          <ac:chgData name="Lonneke Opsteegh" userId="ec2a11b1-c5a7-4109-83b7-7550d0e8e4d6" providerId="ADAL" clId="{F16F0611-EF83-4248-AE98-4DF2AC4DA88B}" dt="2023-02-02T13:18:26.840" v="380"/>
          <ac:spMkLst>
            <pc:docMk/>
            <pc:sldMk cId="791576755" sldId="263"/>
            <ac:spMk id="13" creationId="{42B040ED-F32E-4F61-88A4-4A78E218429D}"/>
          </ac:spMkLst>
        </pc:spChg>
        <pc:spChg chg="add mod ord">
          <ac:chgData name="Lonneke Opsteegh" userId="ec2a11b1-c5a7-4109-83b7-7550d0e8e4d6" providerId="ADAL" clId="{F16F0611-EF83-4248-AE98-4DF2AC4DA88B}" dt="2023-02-12T19:25:39.626" v="774" actId="164"/>
          <ac:spMkLst>
            <pc:docMk/>
            <pc:sldMk cId="791576755" sldId="263"/>
            <ac:spMk id="20" creationId="{156829CC-3CA9-051E-836E-AB60CCFC9B91}"/>
          </ac:spMkLst>
        </pc:spChg>
        <pc:grpChg chg="add del mod">
          <ac:chgData name="Lonneke Opsteegh" userId="ec2a11b1-c5a7-4109-83b7-7550d0e8e4d6" providerId="ADAL" clId="{F16F0611-EF83-4248-AE98-4DF2AC4DA88B}" dt="2023-02-12T19:25:43.238" v="775" actId="21"/>
          <ac:grpSpMkLst>
            <pc:docMk/>
            <pc:sldMk cId="791576755" sldId="263"/>
            <ac:grpSpMk id="21" creationId="{772F80AB-0AAB-2515-24EB-886FAEDCE522}"/>
          </ac:grpSpMkLst>
        </pc:grpChg>
        <pc:picChg chg="add mod">
          <ac:chgData name="Lonneke Opsteegh" userId="ec2a11b1-c5a7-4109-83b7-7550d0e8e4d6" providerId="ADAL" clId="{F16F0611-EF83-4248-AE98-4DF2AC4DA88B}" dt="2023-02-12T19:25:39.626" v="774" actId="164"/>
          <ac:picMkLst>
            <pc:docMk/>
            <pc:sldMk cId="791576755" sldId="263"/>
            <ac:picMk id="5" creationId="{4C387760-F681-AA9F-9166-9ECDC89E998B}"/>
          </ac:picMkLst>
        </pc:picChg>
        <pc:picChg chg="add mod">
          <ac:chgData name="Lonneke Opsteegh" userId="ec2a11b1-c5a7-4109-83b7-7550d0e8e4d6" providerId="ADAL" clId="{F16F0611-EF83-4248-AE98-4DF2AC4DA88B}" dt="2023-02-12T19:25:39.626" v="774" actId="164"/>
          <ac:picMkLst>
            <pc:docMk/>
            <pc:sldMk cId="791576755" sldId="263"/>
            <ac:picMk id="7" creationId="{7EF5B46D-C118-93FA-51F1-1DB64AAC549C}"/>
          </ac:picMkLst>
        </pc:picChg>
        <pc:picChg chg="add mod">
          <ac:chgData name="Lonneke Opsteegh" userId="ec2a11b1-c5a7-4109-83b7-7550d0e8e4d6" providerId="ADAL" clId="{F16F0611-EF83-4248-AE98-4DF2AC4DA88B}" dt="2023-02-12T19:25:39.626" v="774" actId="164"/>
          <ac:picMkLst>
            <pc:docMk/>
            <pc:sldMk cId="791576755" sldId="263"/>
            <ac:picMk id="9" creationId="{658D7B33-5700-1BC8-D81B-07558A648F67}"/>
          </ac:picMkLst>
        </pc:picChg>
        <pc:picChg chg="add mod modCrop">
          <ac:chgData name="Lonneke Opsteegh" userId="ec2a11b1-c5a7-4109-83b7-7550d0e8e4d6" providerId="ADAL" clId="{F16F0611-EF83-4248-AE98-4DF2AC4DA88B}" dt="2023-02-12T19:25:39.626" v="774" actId="164"/>
          <ac:picMkLst>
            <pc:docMk/>
            <pc:sldMk cId="791576755" sldId="263"/>
            <ac:picMk id="11" creationId="{95805F75-4F0B-AACE-8367-269260B7F9C1}"/>
          </ac:picMkLst>
        </pc:picChg>
        <pc:picChg chg="add mod">
          <ac:chgData name="Lonneke Opsteegh" userId="ec2a11b1-c5a7-4109-83b7-7550d0e8e4d6" providerId="ADAL" clId="{F16F0611-EF83-4248-AE98-4DF2AC4DA88B}" dt="2023-02-12T19:25:39.626" v="774" actId="164"/>
          <ac:picMkLst>
            <pc:docMk/>
            <pc:sldMk cId="791576755" sldId="263"/>
            <ac:picMk id="13" creationId="{BB099473-2A96-830A-B3CF-2F0610CEBF00}"/>
          </ac:picMkLst>
        </pc:picChg>
        <pc:picChg chg="add mod modCrop">
          <ac:chgData name="Lonneke Opsteegh" userId="ec2a11b1-c5a7-4109-83b7-7550d0e8e4d6" providerId="ADAL" clId="{F16F0611-EF83-4248-AE98-4DF2AC4DA88B}" dt="2023-02-12T19:25:39.626" v="774" actId="164"/>
          <ac:picMkLst>
            <pc:docMk/>
            <pc:sldMk cId="791576755" sldId="263"/>
            <ac:picMk id="15" creationId="{693DA05D-0F58-541F-DCC4-BFFEDA26EA3B}"/>
          </ac:picMkLst>
        </pc:picChg>
        <pc:picChg chg="add mod">
          <ac:chgData name="Lonneke Opsteegh" userId="ec2a11b1-c5a7-4109-83b7-7550d0e8e4d6" providerId="ADAL" clId="{F16F0611-EF83-4248-AE98-4DF2AC4DA88B}" dt="2023-02-12T19:25:39.626" v="774" actId="164"/>
          <ac:picMkLst>
            <pc:docMk/>
            <pc:sldMk cId="791576755" sldId="263"/>
            <ac:picMk id="17" creationId="{9AE53B19-AB16-6480-A22D-70DC4D08F922}"/>
          </ac:picMkLst>
        </pc:picChg>
        <pc:picChg chg="add mod modCrop">
          <ac:chgData name="Lonneke Opsteegh" userId="ec2a11b1-c5a7-4109-83b7-7550d0e8e4d6" providerId="ADAL" clId="{F16F0611-EF83-4248-AE98-4DF2AC4DA88B}" dt="2023-02-12T19:25:39.626" v="774" actId="164"/>
          <ac:picMkLst>
            <pc:docMk/>
            <pc:sldMk cId="791576755" sldId="263"/>
            <ac:picMk id="19" creationId="{7D8D52D3-22B5-A623-4D58-3B7269A8B91D}"/>
          </ac:picMkLst>
        </pc:picChg>
      </pc:sldChg>
      <pc:sldChg chg="addSp delSp modSp mod">
        <pc:chgData name="Lonneke Opsteegh" userId="ec2a11b1-c5a7-4109-83b7-7550d0e8e4d6" providerId="ADAL" clId="{F16F0611-EF83-4248-AE98-4DF2AC4DA88B}" dt="2023-02-02T13:17:44.176" v="345" actId="20577"/>
        <pc:sldMkLst>
          <pc:docMk/>
          <pc:sldMk cId="2174704069" sldId="264"/>
        </pc:sldMkLst>
        <pc:spChg chg="add del mod">
          <ac:chgData name="Lonneke Opsteegh" userId="ec2a11b1-c5a7-4109-83b7-7550d0e8e4d6" providerId="ADAL" clId="{F16F0611-EF83-4248-AE98-4DF2AC4DA88B}" dt="2023-02-02T13:17:35.359" v="321"/>
          <ac:spMkLst>
            <pc:docMk/>
            <pc:sldMk cId="2174704069" sldId="264"/>
            <ac:spMk id="2" creationId="{0562289F-72B8-B696-4F22-6F945CE3BB83}"/>
          </ac:spMkLst>
        </pc:spChg>
        <pc:spChg chg="add mod">
          <ac:chgData name="Lonneke Opsteegh" userId="ec2a11b1-c5a7-4109-83b7-7550d0e8e4d6" providerId="ADAL" clId="{F16F0611-EF83-4248-AE98-4DF2AC4DA88B}" dt="2023-02-02T13:17:44.176" v="345" actId="20577"/>
          <ac:spMkLst>
            <pc:docMk/>
            <pc:sldMk cId="2174704069" sldId="264"/>
            <ac:spMk id="3" creationId="{79A50354-47F4-BCD4-5B65-5E8AA56640A2}"/>
          </ac:spMkLst>
        </pc:spChg>
        <pc:spChg chg="mod">
          <ac:chgData name="Lonneke Opsteegh" userId="ec2a11b1-c5a7-4109-83b7-7550d0e8e4d6" providerId="ADAL" clId="{F16F0611-EF83-4248-AE98-4DF2AC4DA88B}" dt="2023-02-02T13:17:40.569" v="333" actId="20577"/>
          <ac:spMkLst>
            <pc:docMk/>
            <pc:sldMk cId="2174704069" sldId="264"/>
            <ac:spMk id="4" creationId="{1A9FBE5F-47AE-12A1-EEA9-77F2EA0B4EB8}"/>
          </ac:spMkLst>
        </pc:spChg>
        <pc:spChg chg="del">
          <ac:chgData name="Lonneke Opsteegh" userId="ec2a11b1-c5a7-4109-83b7-7550d0e8e4d6" providerId="ADAL" clId="{F16F0611-EF83-4248-AE98-4DF2AC4DA88B}" dt="2023-02-02T13:17:29.539" v="319" actId="478"/>
          <ac:spMkLst>
            <pc:docMk/>
            <pc:sldMk cId="2174704069" sldId="264"/>
            <ac:spMk id="20" creationId="{8E36A070-D1D3-3D58-09A6-53929325C622}"/>
          </ac:spMkLst>
        </pc:spChg>
        <pc:spChg chg="del">
          <ac:chgData name="Lonneke Opsteegh" userId="ec2a11b1-c5a7-4109-83b7-7550d0e8e4d6" providerId="ADAL" clId="{F16F0611-EF83-4248-AE98-4DF2AC4DA88B}" dt="2023-02-02T13:17:29.539" v="319" actId="478"/>
          <ac:spMkLst>
            <pc:docMk/>
            <pc:sldMk cId="2174704069" sldId="264"/>
            <ac:spMk id="21" creationId="{3458F657-1999-9EB7-22E4-619272F115AD}"/>
          </ac:spMkLst>
        </pc:spChg>
        <pc:spChg chg="del">
          <ac:chgData name="Lonneke Opsteegh" userId="ec2a11b1-c5a7-4109-83b7-7550d0e8e4d6" providerId="ADAL" clId="{F16F0611-EF83-4248-AE98-4DF2AC4DA88B}" dt="2023-02-02T13:17:29.539" v="319" actId="478"/>
          <ac:spMkLst>
            <pc:docMk/>
            <pc:sldMk cId="2174704069" sldId="264"/>
            <ac:spMk id="22" creationId="{78651AFF-DE49-CD2C-223A-FF652E13B30B}"/>
          </ac:spMkLst>
        </pc:spChg>
        <pc:spChg chg="del">
          <ac:chgData name="Lonneke Opsteegh" userId="ec2a11b1-c5a7-4109-83b7-7550d0e8e4d6" providerId="ADAL" clId="{F16F0611-EF83-4248-AE98-4DF2AC4DA88B}" dt="2023-02-02T13:17:29.539" v="319" actId="478"/>
          <ac:spMkLst>
            <pc:docMk/>
            <pc:sldMk cId="2174704069" sldId="264"/>
            <ac:spMk id="23" creationId="{1F176948-88BC-4C19-1DE0-B3325A3925A0}"/>
          </ac:spMkLst>
        </pc:spChg>
        <pc:spChg chg="del">
          <ac:chgData name="Lonneke Opsteegh" userId="ec2a11b1-c5a7-4109-83b7-7550d0e8e4d6" providerId="ADAL" clId="{F16F0611-EF83-4248-AE98-4DF2AC4DA88B}" dt="2023-02-02T13:17:33.403" v="320" actId="478"/>
          <ac:spMkLst>
            <pc:docMk/>
            <pc:sldMk cId="2174704069" sldId="264"/>
            <ac:spMk id="24" creationId="{526B9C28-2B1B-8B93-7D68-4578B21AAC50}"/>
          </ac:spMkLst>
        </pc:spChg>
        <pc:picChg chg="del">
          <ac:chgData name="Lonneke Opsteegh" userId="ec2a11b1-c5a7-4109-83b7-7550d0e8e4d6" providerId="ADAL" clId="{F16F0611-EF83-4248-AE98-4DF2AC4DA88B}" dt="2023-02-02T13:17:29.539" v="319" actId="478"/>
          <ac:picMkLst>
            <pc:docMk/>
            <pc:sldMk cId="2174704069" sldId="264"/>
            <ac:picMk id="7" creationId="{D14EC5B5-A202-0399-2671-4BC6B91E98A0}"/>
          </ac:picMkLst>
        </pc:picChg>
        <pc:picChg chg="del">
          <ac:chgData name="Lonneke Opsteegh" userId="ec2a11b1-c5a7-4109-83b7-7550d0e8e4d6" providerId="ADAL" clId="{F16F0611-EF83-4248-AE98-4DF2AC4DA88B}" dt="2023-02-02T13:17:29.539" v="319" actId="478"/>
          <ac:picMkLst>
            <pc:docMk/>
            <pc:sldMk cId="2174704069" sldId="264"/>
            <ac:picMk id="9" creationId="{9DC2C2E4-4F9B-DDCF-0584-F582C80FAF60}"/>
          </ac:picMkLst>
        </pc:picChg>
        <pc:picChg chg="del">
          <ac:chgData name="Lonneke Opsteegh" userId="ec2a11b1-c5a7-4109-83b7-7550d0e8e4d6" providerId="ADAL" clId="{F16F0611-EF83-4248-AE98-4DF2AC4DA88B}" dt="2023-02-02T13:17:29.539" v="319" actId="478"/>
          <ac:picMkLst>
            <pc:docMk/>
            <pc:sldMk cId="2174704069" sldId="264"/>
            <ac:picMk id="11" creationId="{7CE3F840-72E9-8A9F-D986-68A8E2F043A0}"/>
          </ac:picMkLst>
        </pc:picChg>
        <pc:picChg chg="del">
          <ac:chgData name="Lonneke Opsteegh" userId="ec2a11b1-c5a7-4109-83b7-7550d0e8e4d6" providerId="ADAL" clId="{F16F0611-EF83-4248-AE98-4DF2AC4DA88B}" dt="2023-02-02T13:17:29.539" v="319" actId="478"/>
          <ac:picMkLst>
            <pc:docMk/>
            <pc:sldMk cId="2174704069" sldId="264"/>
            <ac:picMk id="13" creationId="{BEDB558B-FACA-73EB-A6B4-A94D44A5A698}"/>
          </ac:picMkLst>
        </pc:picChg>
        <pc:picChg chg="del">
          <ac:chgData name="Lonneke Opsteegh" userId="ec2a11b1-c5a7-4109-83b7-7550d0e8e4d6" providerId="ADAL" clId="{F16F0611-EF83-4248-AE98-4DF2AC4DA88B}" dt="2023-02-02T13:17:29.539" v="319" actId="478"/>
          <ac:picMkLst>
            <pc:docMk/>
            <pc:sldMk cId="2174704069" sldId="264"/>
            <ac:picMk id="19" creationId="{E6C053B0-197F-3935-57DC-D7928F954E33}"/>
          </ac:picMkLst>
        </pc:picChg>
      </pc:sldChg>
      <pc:sldChg chg="addSp modSp mod ord">
        <pc:chgData name="Lonneke Opsteegh" userId="ec2a11b1-c5a7-4109-83b7-7550d0e8e4d6" providerId="ADAL" clId="{F16F0611-EF83-4248-AE98-4DF2AC4DA88B}" dt="2023-02-12T19:13:19.445" v="541" actId="20577"/>
        <pc:sldMkLst>
          <pc:docMk/>
          <pc:sldMk cId="3288331060" sldId="265"/>
        </pc:sldMkLst>
        <pc:spChg chg="add mod">
          <ac:chgData name="Lonneke Opsteegh" userId="ec2a11b1-c5a7-4109-83b7-7550d0e8e4d6" providerId="ADAL" clId="{F16F0611-EF83-4248-AE98-4DF2AC4DA88B}" dt="2023-02-12T19:13:19.445" v="541" actId="20577"/>
          <ac:spMkLst>
            <pc:docMk/>
            <pc:sldMk cId="3288331060" sldId="265"/>
            <ac:spMk id="2" creationId="{3F6B174E-FAC9-3FDC-A4B3-44635C051B70}"/>
          </ac:spMkLst>
        </pc:spChg>
        <pc:spChg chg="mod">
          <ac:chgData name="Lonneke Opsteegh" userId="ec2a11b1-c5a7-4109-83b7-7550d0e8e4d6" providerId="ADAL" clId="{F16F0611-EF83-4248-AE98-4DF2AC4DA88B}" dt="2023-02-02T13:14:34.513" v="4" actId="14100"/>
          <ac:spMkLst>
            <pc:docMk/>
            <pc:sldMk cId="3288331060" sldId="265"/>
            <ac:spMk id="5" creationId="{62451DEB-A923-A1F7-0DF5-B3AF06ADE215}"/>
          </ac:spMkLst>
        </pc:spChg>
        <pc:spChg chg="mod">
          <ac:chgData name="Lonneke Opsteegh" userId="ec2a11b1-c5a7-4109-83b7-7550d0e8e4d6" providerId="ADAL" clId="{F16F0611-EF83-4248-AE98-4DF2AC4DA88B}" dt="2023-02-02T13:14:29.924" v="3" actId="1076"/>
          <ac:spMkLst>
            <pc:docMk/>
            <pc:sldMk cId="3288331060" sldId="265"/>
            <ac:spMk id="7" creationId="{A54E8F47-3C43-A0FD-DAA1-651ADAA8615D}"/>
          </ac:spMkLst>
        </pc:spChg>
        <pc:spChg chg="mod">
          <ac:chgData name="Lonneke Opsteegh" userId="ec2a11b1-c5a7-4109-83b7-7550d0e8e4d6" providerId="ADAL" clId="{F16F0611-EF83-4248-AE98-4DF2AC4DA88B}" dt="2023-02-02T13:14:29.924" v="3" actId="1076"/>
          <ac:spMkLst>
            <pc:docMk/>
            <pc:sldMk cId="3288331060" sldId="265"/>
            <ac:spMk id="8" creationId="{9190B7BF-999D-DCEB-65C2-492E99EA8C4F}"/>
          </ac:spMkLst>
        </pc:spChg>
        <pc:spChg chg="mod">
          <ac:chgData name="Lonneke Opsteegh" userId="ec2a11b1-c5a7-4109-83b7-7550d0e8e4d6" providerId="ADAL" clId="{F16F0611-EF83-4248-AE98-4DF2AC4DA88B}" dt="2023-02-02T13:14:29.924" v="3" actId="1076"/>
          <ac:spMkLst>
            <pc:docMk/>
            <pc:sldMk cId="3288331060" sldId="265"/>
            <ac:spMk id="9" creationId="{C33F47D0-0A87-BCB8-3289-4366140241A6}"/>
          </ac:spMkLst>
        </pc:spChg>
        <pc:spChg chg="mod">
          <ac:chgData name="Lonneke Opsteegh" userId="ec2a11b1-c5a7-4109-83b7-7550d0e8e4d6" providerId="ADAL" clId="{F16F0611-EF83-4248-AE98-4DF2AC4DA88B}" dt="2023-02-02T13:14:29.924" v="3" actId="1076"/>
          <ac:spMkLst>
            <pc:docMk/>
            <pc:sldMk cId="3288331060" sldId="265"/>
            <ac:spMk id="10" creationId="{8C71D9F7-D89B-47D5-CB7D-A25DB8CD3F08}"/>
          </ac:spMkLst>
        </pc:spChg>
        <pc:spChg chg="mod">
          <ac:chgData name="Lonneke Opsteegh" userId="ec2a11b1-c5a7-4109-83b7-7550d0e8e4d6" providerId="ADAL" clId="{F16F0611-EF83-4248-AE98-4DF2AC4DA88B}" dt="2023-02-02T13:14:29.924" v="3" actId="1076"/>
          <ac:spMkLst>
            <pc:docMk/>
            <pc:sldMk cId="3288331060" sldId="265"/>
            <ac:spMk id="11" creationId="{E334D4BD-C6B1-22DC-0B60-FE180AFB81FB}"/>
          </ac:spMkLst>
        </pc:spChg>
        <pc:picChg chg="mod">
          <ac:chgData name="Lonneke Opsteegh" userId="ec2a11b1-c5a7-4109-83b7-7550d0e8e4d6" providerId="ADAL" clId="{F16F0611-EF83-4248-AE98-4DF2AC4DA88B}" dt="2023-02-02T13:14:22.141" v="2" actId="1076"/>
          <ac:picMkLst>
            <pc:docMk/>
            <pc:sldMk cId="3288331060" sldId="265"/>
            <ac:picMk id="6" creationId="{DF43CA1F-F3D1-139A-5FAE-CD41E10802D2}"/>
          </ac:picMkLst>
        </pc:picChg>
      </pc:sldChg>
      <pc:sldChg chg="del">
        <pc:chgData name="Lonneke Opsteegh" userId="ec2a11b1-c5a7-4109-83b7-7550d0e8e4d6" providerId="ADAL" clId="{F16F0611-EF83-4248-AE98-4DF2AC4DA88B}" dt="2023-02-02T13:25:57.027" v="515" actId="47"/>
        <pc:sldMkLst>
          <pc:docMk/>
          <pc:sldMk cId="2971463013" sldId="266"/>
        </pc:sldMkLst>
      </pc:sldChg>
      <pc:sldChg chg="del">
        <pc:chgData name="Lonneke Opsteegh" userId="ec2a11b1-c5a7-4109-83b7-7550d0e8e4d6" providerId="ADAL" clId="{F16F0611-EF83-4248-AE98-4DF2AC4DA88B}" dt="2023-02-02T13:25:57.027" v="515" actId="47"/>
        <pc:sldMkLst>
          <pc:docMk/>
          <pc:sldMk cId="2197428089" sldId="267"/>
        </pc:sldMkLst>
      </pc:sldChg>
      <pc:sldChg chg="del">
        <pc:chgData name="Lonneke Opsteegh" userId="ec2a11b1-c5a7-4109-83b7-7550d0e8e4d6" providerId="ADAL" clId="{F16F0611-EF83-4248-AE98-4DF2AC4DA88B}" dt="2023-02-02T13:25:57.027" v="515" actId="47"/>
        <pc:sldMkLst>
          <pc:docMk/>
          <pc:sldMk cId="509646" sldId="268"/>
        </pc:sldMkLst>
      </pc:sldChg>
      <pc:sldChg chg="modSp mod ord">
        <pc:chgData name="Lonneke Opsteegh" userId="ec2a11b1-c5a7-4109-83b7-7550d0e8e4d6" providerId="ADAL" clId="{F16F0611-EF83-4248-AE98-4DF2AC4DA88B}" dt="2023-02-02T13:19:08.435" v="415"/>
        <pc:sldMkLst>
          <pc:docMk/>
          <pc:sldMk cId="3644016809" sldId="269"/>
        </pc:sldMkLst>
        <pc:spChg chg="mod">
          <ac:chgData name="Lonneke Opsteegh" userId="ec2a11b1-c5a7-4109-83b7-7550d0e8e4d6" providerId="ADAL" clId="{F16F0611-EF83-4248-AE98-4DF2AC4DA88B}" dt="2023-02-02T13:18:58.040" v="411" actId="6549"/>
          <ac:spMkLst>
            <pc:docMk/>
            <pc:sldMk cId="3644016809" sldId="269"/>
            <ac:spMk id="4" creationId="{A0121CE1-AE8A-C285-EB49-0DF4545AADEB}"/>
          </ac:spMkLst>
        </pc:spChg>
        <pc:spChg chg="mod">
          <ac:chgData name="Lonneke Opsteegh" userId="ec2a11b1-c5a7-4109-83b7-7550d0e8e4d6" providerId="ADAL" clId="{F16F0611-EF83-4248-AE98-4DF2AC4DA88B}" dt="2023-02-02T13:18:55.070" v="410" actId="20577"/>
          <ac:spMkLst>
            <pc:docMk/>
            <pc:sldMk cId="3644016809" sldId="269"/>
            <ac:spMk id="5" creationId="{16F62582-09FB-82DE-EE84-0E928DE92042}"/>
          </ac:spMkLst>
        </pc:spChg>
      </pc:sldChg>
      <pc:sldChg chg="addSp delSp modSp new mod modClrScheme chgLayout">
        <pc:chgData name="Lonneke Opsteegh" userId="ec2a11b1-c5a7-4109-83b7-7550d0e8e4d6" providerId="ADAL" clId="{F16F0611-EF83-4248-AE98-4DF2AC4DA88B}" dt="2023-02-02T13:26:08.965" v="517" actId="700"/>
        <pc:sldMkLst>
          <pc:docMk/>
          <pc:sldMk cId="1679404494" sldId="270"/>
        </pc:sldMkLst>
        <pc:spChg chg="del mod ord">
          <ac:chgData name="Lonneke Opsteegh" userId="ec2a11b1-c5a7-4109-83b7-7550d0e8e4d6" providerId="ADAL" clId="{F16F0611-EF83-4248-AE98-4DF2AC4DA88B}" dt="2023-02-02T13:26:08.965" v="517" actId="700"/>
          <ac:spMkLst>
            <pc:docMk/>
            <pc:sldMk cId="1679404494" sldId="270"/>
            <ac:spMk id="2" creationId="{EAB5A8D5-EFB1-C96D-2921-E9D3C6527538}"/>
          </ac:spMkLst>
        </pc:spChg>
        <pc:spChg chg="del mod ord">
          <ac:chgData name="Lonneke Opsteegh" userId="ec2a11b1-c5a7-4109-83b7-7550d0e8e4d6" providerId="ADAL" clId="{F16F0611-EF83-4248-AE98-4DF2AC4DA88B}" dt="2023-02-02T13:26:08.965" v="517" actId="700"/>
          <ac:spMkLst>
            <pc:docMk/>
            <pc:sldMk cId="1679404494" sldId="270"/>
            <ac:spMk id="3" creationId="{13C2B293-D504-2FA7-C470-9F58EE2CB6B0}"/>
          </ac:spMkLst>
        </pc:spChg>
        <pc:spChg chg="add mod ord">
          <ac:chgData name="Lonneke Opsteegh" userId="ec2a11b1-c5a7-4109-83b7-7550d0e8e4d6" providerId="ADAL" clId="{F16F0611-EF83-4248-AE98-4DF2AC4DA88B}" dt="2023-02-02T13:26:08.965" v="517" actId="700"/>
          <ac:spMkLst>
            <pc:docMk/>
            <pc:sldMk cId="1679404494" sldId="270"/>
            <ac:spMk id="4" creationId="{826FE342-87B7-A648-C038-40C65EFCF64A}"/>
          </ac:spMkLst>
        </pc:spChg>
        <pc:spChg chg="add mod ord">
          <ac:chgData name="Lonneke Opsteegh" userId="ec2a11b1-c5a7-4109-83b7-7550d0e8e4d6" providerId="ADAL" clId="{F16F0611-EF83-4248-AE98-4DF2AC4DA88B}" dt="2023-02-02T13:26:08.965" v="517" actId="700"/>
          <ac:spMkLst>
            <pc:docMk/>
            <pc:sldMk cId="1679404494" sldId="270"/>
            <ac:spMk id="5" creationId="{516765B0-8A53-B553-47C5-E860A6C0965B}"/>
          </ac:spMkLst>
        </pc:spChg>
        <pc:spChg chg="add mod ord">
          <ac:chgData name="Lonneke Opsteegh" userId="ec2a11b1-c5a7-4109-83b7-7550d0e8e4d6" providerId="ADAL" clId="{F16F0611-EF83-4248-AE98-4DF2AC4DA88B}" dt="2023-02-02T13:26:08.965" v="517" actId="700"/>
          <ac:spMkLst>
            <pc:docMk/>
            <pc:sldMk cId="1679404494" sldId="270"/>
            <ac:spMk id="6" creationId="{8C2D4B2B-6E10-5C72-9D5B-F15E0B34AFA1}"/>
          </ac:spMkLst>
        </pc:spChg>
      </pc:sldChg>
      <pc:sldChg chg="del">
        <pc:chgData name="Lonneke Opsteegh" userId="ec2a11b1-c5a7-4109-83b7-7550d0e8e4d6" providerId="ADAL" clId="{F16F0611-EF83-4248-AE98-4DF2AC4DA88B}" dt="2023-02-02T13:19:02.970" v="412" actId="47"/>
        <pc:sldMkLst>
          <pc:docMk/>
          <pc:sldMk cId="3032617558" sldId="270"/>
        </pc:sldMkLst>
      </pc:sldChg>
      <pc:sldChg chg="del">
        <pc:chgData name="Lonneke Opsteegh" userId="ec2a11b1-c5a7-4109-83b7-7550d0e8e4d6" providerId="ADAL" clId="{F16F0611-EF83-4248-AE98-4DF2AC4DA88B}" dt="2023-02-02T13:19:05.089" v="413" actId="47"/>
        <pc:sldMkLst>
          <pc:docMk/>
          <pc:sldMk cId="3905471321" sldId="271"/>
        </pc:sldMkLst>
      </pc:sldChg>
      <pc:sldChg chg="new">
        <pc:chgData name="Lonneke Opsteegh" userId="ec2a11b1-c5a7-4109-83b7-7550d0e8e4d6" providerId="ADAL" clId="{F16F0611-EF83-4248-AE98-4DF2AC4DA88B}" dt="2023-02-02T13:26:17.006" v="518" actId="680"/>
        <pc:sldMkLst>
          <pc:docMk/>
          <pc:sldMk cId="4164166654" sldId="271"/>
        </pc:sldMkLst>
      </pc:sldChg>
      <pc:sldChg chg="addSp delSp modSp new mod modClrScheme chgLayout">
        <pc:chgData name="Lonneke Opsteegh" userId="ec2a11b1-c5a7-4109-83b7-7550d0e8e4d6" providerId="ADAL" clId="{F16F0611-EF83-4248-AE98-4DF2AC4DA88B}" dt="2023-02-14T14:59:47.257" v="1487" actId="1037"/>
        <pc:sldMkLst>
          <pc:docMk/>
          <pc:sldMk cId="1295083531" sldId="272"/>
        </pc:sldMkLst>
        <pc:spChg chg="del">
          <ac:chgData name="Lonneke Opsteegh" userId="ec2a11b1-c5a7-4109-83b7-7550d0e8e4d6" providerId="ADAL" clId="{F16F0611-EF83-4248-AE98-4DF2AC4DA88B}" dt="2023-02-14T11:05:22.696" v="817" actId="700"/>
          <ac:spMkLst>
            <pc:docMk/>
            <pc:sldMk cId="1295083531" sldId="272"/>
            <ac:spMk id="2" creationId="{5EEA09DE-8B4E-D231-EFF2-3BFCFA057BA1}"/>
          </ac:spMkLst>
        </pc:spChg>
        <pc:spChg chg="del">
          <ac:chgData name="Lonneke Opsteegh" userId="ec2a11b1-c5a7-4109-83b7-7550d0e8e4d6" providerId="ADAL" clId="{F16F0611-EF83-4248-AE98-4DF2AC4DA88B}" dt="2023-02-14T11:05:22.696" v="817" actId="700"/>
          <ac:spMkLst>
            <pc:docMk/>
            <pc:sldMk cId="1295083531" sldId="272"/>
            <ac:spMk id="3" creationId="{6201B68D-F6D5-7DC7-77EF-737751317BF3}"/>
          </ac:spMkLst>
        </pc:spChg>
        <pc:spChg chg="mod">
          <ac:chgData name="Lonneke Opsteegh" userId="ec2a11b1-c5a7-4109-83b7-7550d0e8e4d6" providerId="ADAL" clId="{F16F0611-EF83-4248-AE98-4DF2AC4DA88B}" dt="2023-02-14T13:28:15.429" v="1317" actId="571"/>
          <ac:spMkLst>
            <pc:docMk/>
            <pc:sldMk cId="1295083531" sldId="272"/>
            <ac:spMk id="8" creationId="{1131C5AB-8477-0EE8-BCEB-24867299DD02}"/>
          </ac:spMkLst>
        </pc:spChg>
        <pc:spChg chg="del mod">
          <ac:chgData name="Lonneke Opsteegh" userId="ec2a11b1-c5a7-4109-83b7-7550d0e8e4d6" providerId="ADAL" clId="{F16F0611-EF83-4248-AE98-4DF2AC4DA88B}" dt="2023-02-14T11:05:30.384" v="820" actId="478"/>
          <ac:spMkLst>
            <pc:docMk/>
            <pc:sldMk cId="1295083531" sldId="272"/>
            <ac:spMk id="9" creationId="{FBDEC351-8C03-C8E6-D2BD-7A11644207EF}"/>
          </ac:spMkLst>
        </pc:spChg>
        <pc:spChg chg="add mod ord">
          <ac:chgData name="Lonneke Opsteegh" userId="ec2a11b1-c5a7-4109-83b7-7550d0e8e4d6" providerId="ADAL" clId="{F16F0611-EF83-4248-AE98-4DF2AC4DA88B}" dt="2023-02-14T11:17:30.391" v="1008" actId="164"/>
          <ac:spMkLst>
            <pc:docMk/>
            <pc:sldMk cId="1295083531" sldId="272"/>
            <ac:spMk id="18" creationId="{39688FA5-C486-ABC8-17BC-BDDBECA5ACF2}"/>
          </ac:spMkLst>
        </pc:spChg>
        <pc:spChg chg="add mod">
          <ac:chgData name="Lonneke Opsteegh" userId="ec2a11b1-c5a7-4109-83b7-7550d0e8e4d6" providerId="ADAL" clId="{F16F0611-EF83-4248-AE98-4DF2AC4DA88B}" dt="2023-02-14T14:58:04.026" v="1424" actId="1076"/>
          <ac:spMkLst>
            <pc:docMk/>
            <pc:sldMk cId="1295083531" sldId="272"/>
            <ac:spMk id="23" creationId="{F083D674-831D-3676-094B-6B763B4362F5}"/>
          </ac:spMkLst>
        </pc:spChg>
        <pc:spChg chg="add mod">
          <ac:chgData name="Lonneke Opsteegh" userId="ec2a11b1-c5a7-4109-83b7-7550d0e8e4d6" providerId="ADAL" clId="{F16F0611-EF83-4248-AE98-4DF2AC4DA88B}" dt="2023-02-14T14:57:01.764" v="1349" actId="14100"/>
          <ac:spMkLst>
            <pc:docMk/>
            <pc:sldMk cId="1295083531" sldId="272"/>
            <ac:spMk id="64" creationId="{9C3B35BE-6A9D-5D05-BEB7-61A18883B4E9}"/>
          </ac:spMkLst>
        </pc:spChg>
        <pc:spChg chg="add mod">
          <ac:chgData name="Lonneke Opsteegh" userId="ec2a11b1-c5a7-4109-83b7-7550d0e8e4d6" providerId="ADAL" clId="{F16F0611-EF83-4248-AE98-4DF2AC4DA88B}" dt="2023-02-14T12:03:14.139" v="1258" actId="14100"/>
          <ac:spMkLst>
            <pc:docMk/>
            <pc:sldMk cId="1295083531" sldId="272"/>
            <ac:spMk id="65" creationId="{117D1B6E-DCE3-06FC-3CBD-28403D44B3B3}"/>
          </ac:spMkLst>
        </pc:spChg>
        <pc:spChg chg="add mod">
          <ac:chgData name="Lonneke Opsteegh" userId="ec2a11b1-c5a7-4109-83b7-7550d0e8e4d6" providerId="ADAL" clId="{F16F0611-EF83-4248-AE98-4DF2AC4DA88B}" dt="2023-02-14T12:03:10.905" v="1257" actId="14100"/>
          <ac:spMkLst>
            <pc:docMk/>
            <pc:sldMk cId="1295083531" sldId="272"/>
            <ac:spMk id="66" creationId="{EBB766FA-455B-59EA-A113-5E3F06CA7B28}"/>
          </ac:spMkLst>
        </pc:spChg>
        <pc:spChg chg="add mod">
          <ac:chgData name="Lonneke Opsteegh" userId="ec2a11b1-c5a7-4109-83b7-7550d0e8e4d6" providerId="ADAL" clId="{F16F0611-EF83-4248-AE98-4DF2AC4DA88B}" dt="2023-02-14T12:03:02.720" v="1255" actId="1035"/>
          <ac:spMkLst>
            <pc:docMk/>
            <pc:sldMk cId="1295083531" sldId="272"/>
            <ac:spMk id="67" creationId="{88E5F62F-ED34-10DB-DBA6-D40CC7869075}"/>
          </ac:spMkLst>
        </pc:spChg>
        <pc:grpChg chg="add mod">
          <ac:chgData name="Lonneke Opsteegh" userId="ec2a11b1-c5a7-4109-83b7-7550d0e8e4d6" providerId="ADAL" clId="{F16F0611-EF83-4248-AE98-4DF2AC4DA88B}" dt="2023-02-14T13:28:15.429" v="1317" actId="571"/>
          <ac:grpSpMkLst>
            <pc:docMk/>
            <pc:sldMk cId="1295083531" sldId="272"/>
            <ac:grpSpMk id="3" creationId="{1B4CA4D1-7D4B-CAD6-6219-E9B282C02681}"/>
          </ac:grpSpMkLst>
        </pc:grpChg>
        <pc:grpChg chg="add del mod">
          <ac:chgData name="Lonneke Opsteegh" userId="ec2a11b1-c5a7-4109-83b7-7550d0e8e4d6" providerId="ADAL" clId="{F16F0611-EF83-4248-AE98-4DF2AC4DA88B}" dt="2023-02-14T11:05:35.861" v="822" actId="165"/>
          <ac:grpSpMkLst>
            <pc:docMk/>
            <pc:sldMk cId="1295083531" sldId="272"/>
            <ac:grpSpMk id="8" creationId="{6E093FA1-D677-89B4-9962-C7C2057A930B}"/>
          </ac:grpSpMkLst>
        </pc:grpChg>
        <pc:grpChg chg="add mod">
          <ac:chgData name="Lonneke Opsteegh" userId="ec2a11b1-c5a7-4109-83b7-7550d0e8e4d6" providerId="ADAL" clId="{F16F0611-EF83-4248-AE98-4DF2AC4DA88B}" dt="2023-02-14T13:29:11.929" v="1335" actId="1036"/>
          <ac:grpSpMkLst>
            <pc:docMk/>
            <pc:sldMk cId="1295083531" sldId="272"/>
            <ac:grpSpMk id="49" creationId="{635BDFFB-634F-DD51-6CAB-61109C5DC2C9}"/>
          </ac:grpSpMkLst>
        </pc:grpChg>
        <pc:picChg chg="add mod">
          <ac:chgData name="Lonneke Opsteegh" userId="ec2a11b1-c5a7-4109-83b7-7550d0e8e4d6" providerId="ADAL" clId="{F16F0611-EF83-4248-AE98-4DF2AC4DA88B}" dt="2023-02-14T13:28:15.429" v="1317" actId="571"/>
          <ac:picMkLst>
            <pc:docMk/>
            <pc:sldMk cId="1295083531" sldId="272"/>
            <ac:picMk id="2" creationId="{BB2C6526-7E4E-13FA-FF53-37BF837B0BDE}"/>
          </ac:picMkLst>
        </pc:picChg>
        <pc:picChg chg="add mod">
          <ac:chgData name="Lonneke Opsteegh" userId="ec2a11b1-c5a7-4109-83b7-7550d0e8e4d6" providerId="ADAL" clId="{F16F0611-EF83-4248-AE98-4DF2AC4DA88B}" dt="2023-02-14T14:57:59.604" v="1423" actId="1076"/>
          <ac:picMkLst>
            <pc:docMk/>
            <pc:sldMk cId="1295083531" sldId="272"/>
            <ac:picMk id="4" creationId="{FBB6ECB8-5966-FCE5-07A2-A86B0D46E2FB}"/>
          </ac:picMkLst>
        </pc:picChg>
        <pc:picChg chg="add mod">
          <ac:chgData name="Lonneke Opsteegh" userId="ec2a11b1-c5a7-4109-83b7-7550d0e8e4d6" providerId="ADAL" clId="{F16F0611-EF83-4248-AE98-4DF2AC4DA88B}" dt="2023-02-14T14:57:59.604" v="1423" actId="1076"/>
          <ac:picMkLst>
            <pc:docMk/>
            <pc:sldMk cId="1295083531" sldId="272"/>
            <ac:picMk id="5" creationId="{FF66642A-3801-BC34-B13D-47ED76F58D18}"/>
          </ac:picMkLst>
        </pc:picChg>
        <pc:picChg chg="add mod">
          <ac:chgData name="Lonneke Opsteegh" userId="ec2a11b1-c5a7-4109-83b7-7550d0e8e4d6" providerId="ADAL" clId="{F16F0611-EF83-4248-AE98-4DF2AC4DA88B}" dt="2023-02-14T14:59:30.917" v="1468" actId="552"/>
          <ac:picMkLst>
            <pc:docMk/>
            <pc:sldMk cId="1295083531" sldId="272"/>
            <ac:picMk id="6" creationId="{6053665B-5DEE-84FE-8FF0-8937DBF7C601}"/>
          </ac:picMkLst>
        </pc:picChg>
        <pc:picChg chg="add mod">
          <ac:chgData name="Lonneke Opsteegh" userId="ec2a11b1-c5a7-4109-83b7-7550d0e8e4d6" providerId="ADAL" clId="{F16F0611-EF83-4248-AE98-4DF2AC4DA88B}" dt="2023-02-14T14:57:59.604" v="1423" actId="1076"/>
          <ac:picMkLst>
            <pc:docMk/>
            <pc:sldMk cId="1295083531" sldId="272"/>
            <ac:picMk id="7" creationId="{D64DFC32-CF2D-7140-7FF9-4DDBB0C9F7C9}"/>
          </ac:picMkLst>
        </pc:picChg>
        <pc:picChg chg="mod">
          <ac:chgData name="Lonneke Opsteegh" userId="ec2a11b1-c5a7-4109-83b7-7550d0e8e4d6" providerId="ADAL" clId="{F16F0611-EF83-4248-AE98-4DF2AC4DA88B}" dt="2023-02-14T13:28:15.429" v="1317" actId="571"/>
          <ac:picMkLst>
            <pc:docMk/>
            <pc:sldMk cId="1295083531" sldId="272"/>
            <ac:picMk id="9" creationId="{B1C99BC7-003B-CF01-0F6A-48B02482C3A6}"/>
          </ac:picMkLst>
        </pc:picChg>
        <pc:picChg chg="mod topLvl">
          <ac:chgData name="Lonneke Opsteegh" userId="ec2a11b1-c5a7-4109-83b7-7550d0e8e4d6" providerId="ADAL" clId="{F16F0611-EF83-4248-AE98-4DF2AC4DA88B}" dt="2023-02-14T14:59:18.323" v="1467" actId="12788"/>
          <ac:picMkLst>
            <pc:docMk/>
            <pc:sldMk cId="1295083531" sldId="272"/>
            <ac:picMk id="10" creationId="{EA6BC12B-AD4C-886E-EFD6-02F83D9BAF67}"/>
          </ac:picMkLst>
        </pc:picChg>
        <pc:picChg chg="mod topLvl">
          <ac:chgData name="Lonneke Opsteegh" userId="ec2a11b1-c5a7-4109-83b7-7550d0e8e4d6" providerId="ADAL" clId="{F16F0611-EF83-4248-AE98-4DF2AC4DA88B}" dt="2023-02-14T14:59:30.917" v="1468" actId="552"/>
          <ac:picMkLst>
            <pc:docMk/>
            <pc:sldMk cId="1295083531" sldId="272"/>
            <ac:picMk id="11" creationId="{1674B76F-E8CB-8606-2855-1F4BC3E4EAF3}"/>
          </ac:picMkLst>
        </pc:picChg>
        <pc:picChg chg="mod topLvl modCrop">
          <ac:chgData name="Lonneke Opsteegh" userId="ec2a11b1-c5a7-4109-83b7-7550d0e8e4d6" providerId="ADAL" clId="{F16F0611-EF83-4248-AE98-4DF2AC4DA88B}" dt="2023-02-14T13:27:43.185" v="1305" actId="553"/>
          <ac:picMkLst>
            <pc:docMk/>
            <pc:sldMk cId="1295083531" sldId="272"/>
            <ac:picMk id="12" creationId="{F4F339A5-288F-2466-ED24-AF17BAF3CDEB}"/>
          </ac:picMkLst>
        </pc:picChg>
        <pc:picChg chg="mod topLvl">
          <ac:chgData name="Lonneke Opsteegh" userId="ec2a11b1-c5a7-4109-83b7-7550d0e8e4d6" providerId="ADAL" clId="{F16F0611-EF83-4248-AE98-4DF2AC4DA88B}" dt="2023-02-14T13:29:06.386" v="1330" actId="1035"/>
          <ac:picMkLst>
            <pc:docMk/>
            <pc:sldMk cId="1295083531" sldId="272"/>
            <ac:picMk id="13" creationId="{CC64D91C-73FC-6105-06DC-23F6D96C741F}"/>
          </ac:picMkLst>
        </pc:picChg>
        <pc:picChg chg="mod topLvl">
          <ac:chgData name="Lonneke Opsteegh" userId="ec2a11b1-c5a7-4109-83b7-7550d0e8e4d6" providerId="ADAL" clId="{F16F0611-EF83-4248-AE98-4DF2AC4DA88B}" dt="2023-02-14T11:17:30.391" v="1008" actId="164"/>
          <ac:picMkLst>
            <pc:docMk/>
            <pc:sldMk cId="1295083531" sldId="272"/>
            <ac:picMk id="14" creationId="{AA34F93A-6627-12A6-B4F9-415A8462EFCB}"/>
          </ac:picMkLst>
        </pc:picChg>
        <pc:picChg chg="mod topLvl modCrop">
          <ac:chgData name="Lonneke Opsteegh" userId="ec2a11b1-c5a7-4109-83b7-7550d0e8e4d6" providerId="ADAL" clId="{F16F0611-EF83-4248-AE98-4DF2AC4DA88B}" dt="2023-02-14T13:27:51.830" v="1306" actId="732"/>
          <ac:picMkLst>
            <pc:docMk/>
            <pc:sldMk cId="1295083531" sldId="272"/>
            <ac:picMk id="15" creationId="{8C9CCB94-16A3-5B89-5695-FC57F04F48DA}"/>
          </ac:picMkLst>
        </pc:picChg>
        <pc:picChg chg="mod topLvl">
          <ac:chgData name="Lonneke Opsteegh" userId="ec2a11b1-c5a7-4109-83b7-7550d0e8e4d6" providerId="ADAL" clId="{F16F0611-EF83-4248-AE98-4DF2AC4DA88B}" dt="2023-02-14T14:59:18.323" v="1467" actId="12788"/>
          <ac:picMkLst>
            <pc:docMk/>
            <pc:sldMk cId="1295083531" sldId="272"/>
            <ac:picMk id="16" creationId="{6B7B93EE-9291-4EE5-6635-C3ACEA44FA97}"/>
          </ac:picMkLst>
        </pc:picChg>
        <pc:picChg chg="mod topLvl">
          <ac:chgData name="Lonneke Opsteegh" userId="ec2a11b1-c5a7-4109-83b7-7550d0e8e4d6" providerId="ADAL" clId="{F16F0611-EF83-4248-AE98-4DF2AC4DA88B}" dt="2023-02-14T14:59:43.494" v="1485" actId="1037"/>
          <ac:picMkLst>
            <pc:docMk/>
            <pc:sldMk cId="1295083531" sldId="272"/>
            <ac:picMk id="17" creationId="{DC57E605-BF61-EEFC-DED3-DFAB088AE0D2}"/>
          </ac:picMkLst>
        </pc:picChg>
        <pc:picChg chg="add mod">
          <ac:chgData name="Lonneke Opsteegh" userId="ec2a11b1-c5a7-4109-83b7-7550d0e8e4d6" providerId="ADAL" clId="{F16F0611-EF83-4248-AE98-4DF2AC4DA88B}" dt="2023-02-14T13:28:15.429" v="1317" actId="571"/>
          <ac:picMkLst>
            <pc:docMk/>
            <pc:sldMk cId="1295083531" sldId="272"/>
            <ac:picMk id="19" creationId="{E451C7D7-7FD7-5F6C-8E57-D1D7E5B24DC5}"/>
          </ac:picMkLst>
        </pc:picChg>
        <pc:picChg chg="add mod">
          <ac:chgData name="Lonneke Opsteegh" userId="ec2a11b1-c5a7-4109-83b7-7550d0e8e4d6" providerId="ADAL" clId="{F16F0611-EF83-4248-AE98-4DF2AC4DA88B}" dt="2023-02-14T14:59:47.257" v="1487" actId="1037"/>
          <ac:picMkLst>
            <pc:docMk/>
            <pc:sldMk cId="1295083531" sldId="272"/>
            <ac:picMk id="20" creationId="{415B4C61-1736-74BE-8C6A-C753727D2F88}"/>
          </ac:picMkLst>
        </pc:picChg>
        <pc:picChg chg="add mod">
          <ac:chgData name="Lonneke Opsteegh" userId="ec2a11b1-c5a7-4109-83b7-7550d0e8e4d6" providerId="ADAL" clId="{F16F0611-EF83-4248-AE98-4DF2AC4DA88B}" dt="2023-02-14T13:28:15.429" v="1317" actId="571"/>
          <ac:picMkLst>
            <pc:docMk/>
            <pc:sldMk cId="1295083531" sldId="272"/>
            <ac:picMk id="21" creationId="{7C9E0387-69E0-6CE6-6400-36DC317208BD}"/>
          </ac:picMkLst>
        </pc:picChg>
        <pc:picChg chg="add mod modCrop">
          <ac:chgData name="Lonneke Opsteegh" userId="ec2a11b1-c5a7-4109-83b7-7550d0e8e4d6" providerId="ADAL" clId="{F16F0611-EF83-4248-AE98-4DF2AC4DA88B}" dt="2023-02-14T14:58:39.689" v="1439" actId="1038"/>
          <ac:picMkLst>
            <pc:docMk/>
            <pc:sldMk cId="1295083531" sldId="272"/>
            <ac:picMk id="22" creationId="{10F82ACC-4D8C-25DB-D12A-5F83D2E2C0F0}"/>
          </ac:picMkLst>
        </pc:picChg>
        <pc:picChg chg="add mod">
          <ac:chgData name="Lonneke Opsteegh" userId="ec2a11b1-c5a7-4109-83b7-7550d0e8e4d6" providerId="ADAL" clId="{F16F0611-EF83-4248-AE98-4DF2AC4DA88B}" dt="2023-02-14T13:28:17.480" v="1318" actId="552"/>
          <ac:picMkLst>
            <pc:docMk/>
            <pc:sldMk cId="1295083531" sldId="272"/>
            <ac:picMk id="24" creationId="{2293B7F7-42AE-384A-E051-BD429F1F8E21}"/>
          </ac:picMkLst>
        </pc:picChg>
        <pc:picChg chg="add mod">
          <ac:chgData name="Lonneke Opsteegh" userId="ec2a11b1-c5a7-4109-83b7-7550d0e8e4d6" providerId="ADAL" clId="{F16F0611-EF83-4248-AE98-4DF2AC4DA88B}" dt="2023-02-14T14:59:30.917" v="1468" actId="552"/>
          <ac:picMkLst>
            <pc:docMk/>
            <pc:sldMk cId="1295083531" sldId="272"/>
            <ac:picMk id="26" creationId="{7AFF4ACD-14F1-811C-3E2D-334C5C20EA91}"/>
          </ac:picMkLst>
        </pc:picChg>
        <pc:picChg chg="add mod">
          <ac:chgData name="Lonneke Opsteegh" userId="ec2a11b1-c5a7-4109-83b7-7550d0e8e4d6" providerId="ADAL" clId="{F16F0611-EF83-4248-AE98-4DF2AC4DA88B}" dt="2023-02-14T13:27:43.185" v="1305" actId="553"/>
          <ac:picMkLst>
            <pc:docMk/>
            <pc:sldMk cId="1295083531" sldId="272"/>
            <ac:picMk id="28" creationId="{23D23DB5-4289-04B7-618C-61D1285BF5DB}"/>
          </ac:picMkLst>
        </pc:picChg>
        <pc:picChg chg="add mod">
          <ac:chgData name="Lonneke Opsteegh" userId="ec2a11b1-c5a7-4109-83b7-7550d0e8e4d6" providerId="ADAL" clId="{F16F0611-EF83-4248-AE98-4DF2AC4DA88B}" dt="2023-02-14T13:28:17.480" v="1318" actId="552"/>
          <ac:picMkLst>
            <pc:docMk/>
            <pc:sldMk cId="1295083531" sldId="272"/>
            <ac:picMk id="30" creationId="{B0D84EE8-E9CF-7EB8-3807-A0EF831E1A26}"/>
          </ac:picMkLst>
        </pc:picChg>
        <pc:picChg chg="add mod">
          <ac:chgData name="Lonneke Opsteegh" userId="ec2a11b1-c5a7-4109-83b7-7550d0e8e4d6" providerId="ADAL" clId="{F16F0611-EF83-4248-AE98-4DF2AC4DA88B}" dt="2023-02-14T14:59:18.323" v="1467" actId="12788"/>
          <ac:picMkLst>
            <pc:docMk/>
            <pc:sldMk cId="1295083531" sldId="272"/>
            <ac:picMk id="32" creationId="{F9C2186E-CA52-DF92-FD93-575DA34A03C9}"/>
          </ac:picMkLst>
        </pc:picChg>
        <pc:picChg chg="add mod">
          <ac:chgData name="Lonneke Opsteegh" userId="ec2a11b1-c5a7-4109-83b7-7550d0e8e4d6" providerId="ADAL" clId="{F16F0611-EF83-4248-AE98-4DF2AC4DA88B}" dt="2023-02-14T14:59:18.323" v="1467" actId="12788"/>
          <ac:picMkLst>
            <pc:docMk/>
            <pc:sldMk cId="1295083531" sldId="272"/>
            <ac:picMk id="34" creationId="{97ABF862-06C7-33DA-732C-0F93A84BF0AA}"/>
          </ac:picMkLst>
        </pc:picChg>
        <pc:picChg chg="add mod">
          <ac:chgData name="Lonneke Opsteegh" userId="ec2a11b1-c5a7-4109-83b7-7550d0e8e4d6" providerId="ADAL" clId="{F16F0611-EF83-4248-AE98-4DF2AC4DA88B}" dt="2023-02-14T14:58:08.497" v="1425" actId="1076"/>
          <ac:picMkLst>
            <pc:docMk/>
            <pc:sldMk cId="1295083531" sldId="272"/>
            <ac:picMk id="36" creationId="{AEB63145-5B3C-EA0F-E1A3-D7EB5344B35D}"/>
          </ac:picMkLst>
        </pc:picChg>
        <pc:picChg chg="add mod">
          <ac:chgData name="Lonneke Opsteegh" userId="ec2a11b1-c5a7-4109-83b7-7550d0e8e4d6" providerId="ADAL" clId="{F16F0611-EF83-4248-AE98-4DF2AC4DA88B}" dt="2023-02-14T14:58:17.772" v="1426" actId="408"/>
          <ac:picMkLst>
            <pc:docMk/>
            <pc:sldMk cId="1295083531" sldId="272"/>
            <ac:picMk id="38" creationId="{3653903B-479C-5CEB-5A65-8B8EB5519A10}"/>
          </ac:picMkLst>
        </pc:picChg>
        <pc:picChg chg="add mod">
          <ac:chgData name="Lonneke Opsteegh" userId="ec2a11b1-c5a7-4109-83b7-7550d0e8e4d6" providerId="ADAL" clId="{F16F0611-EF83-4248-AE98-4DF2AC4DA88B}" dt="2023-02-14T14:58:17.772" v="1426" actId="408"/>
          <ac:picMkLst>
            <pc:docMk/>
            <pc:sldMk cId="1295083531" sldId="272"/>
            <ac:picMk id="40" creationId="{45EC5D00-2ED8-0566-E1E5-8C6F4578F6D8}"/>
          </ac:picMkLst>
        </pc:picChg>
        <pc:picChg chg="add mod">
          <ac:chgData name="Lonneke Opsteegh" userId="ec2a11b1-c5a7-4109-83b7-7550d0e8e4d6" providerId="ADAL" clId="{F16F0611-EF83-4248-AE98-4DF2AC4DA88B}" dt="2023-02-14T14:58:17.772" v="1426" actId="408"/>
          <ac:picMkLst>
            <pc:docMk/>
            <pc:sldMk cId="1295083531" sldId="272"/>
            <ac:picMk id="42" creationId="{7AB04E64-0458-D92A-162B-B5441C27264F}"/>
          </ac:picMkLst>
        </pc:picChg>
        <pc:picChg chg="add mod">
          <ac:chgData name="Lonneke Opsteegh" userId="ec2a11b1-c5a7-4109-83b7-7550d0e8e4d6" providerId="ADAL" clId="{F16F0611-EF83-4248-AE98-4DF2AC4DA88B}" dt="2023-02-14T14:59:30.917" v="1468" actId="552"/>
          <ac:picMkLst>
            <pc:docMk/>
            <pc:sldMk cId="1295083531" sldId="272"/>
            <ac:picMk id="44" creationId="{E33BBA26-826B-10DE-03D3-18B894DDFFD4}"/>
          </ac:picMkLst>
        </pc:picChg>
        <pc:picChg chg="add mod">
          <ac:chgData name="Lonneke Opsteegh" userId="ec2a11b1-c5a7-4109-83b7-7550d0e8e4d6" providerId="ADAL" clId="{F16F0611-EF83-4248-AE98-4DF2AC4DA88B}" dt="2023-02-14T11:15:45.835" v="977" actId="571"/>
          <ac:picMkLst>
            <pc:docMk/>
            <pc:sldMk cId="1295083531" sldId="272"/>
            <ac:picMk id="45" creationId="{648A903C-B30F-8EF7-2688-B7A24B1C723E}"/>
          </ac:picMkLst>
        </pc:picChg>
        <pc:picChg chg="add mod">
          <ac:chgData name="Lonneke Opsteegh" userId="ec2a11b1-c5a7-4109-83b7-7550d0e8e4d6" providerId="ADAL" clId="{F16F0611-EF83-4248-AE98-4DF2AC4DA88B}" dt="2023-02-14T11:15:45.835" v="977" actId="571"/>
          <ac:picMkLst>
            <pc:docMk/>
            <pc:sldMk cId="1295083531" sldId="272"/>
            <ac:picMk id="46" creationId="{753C4F70-5796-EA39-F7C2-2E5A76871A46}"/>
          </ac:picMkLst>
        </pc:picChg>
        <pc:picChg chg="add mod">
          <ac:chgData name="Lonneke Opsteegh" userId="ec2a11b1-c5a7-4109-83b7-7550d0e8e4d6" providerId="ADAL" clId="{F16F0611-EF83-4248-AE98-4DF2AC4DA88B}" dt="2023-02-14T11:15:45.835" v="977" actId="571"/>
          <ac:picMkLst>
            <pc:docMk/>
            <pc:sldMk cId="1295083531" sldId="272"/>
            <ac:picMk id="47" creationId="{137AD206-EA4D-48D7-C827-4A59C6BD1743}"/>
          </ac:picMkLst>
        </pc:picChg>
        <pc:picChg chg="add mod">
          <ac:chgData name="Lonneke Opsteegh" userId="ec2a11b1-c5a7-4109-83b7-7550d0e8e4d6" providerId="ADAL" clId="{F16F0611-EF83-4248-AE98-4DF2AC4DA88B}" dt="2023-02-14T11:15:45.835" v="977" actId="571"/>
          <ac:picMkLst>
            <pc:docMk/>
            <pc:sldMk cId="1295083531" sldId="272"/>
            <ac:picMk id="48" creationId="{5C39FED7-A602-517E-03AD-4C7A022E577D}"/>
          </ac:picMkLst>
        </pc:picChg>
        <pc:picChg chg="add mod">
          <ac:chgData name="Lonneke Opsteegh" userId="ec2a11b1-c5a7-4109-83b7-7550d0e8e4d6" providerId="ADAL" clId="{F16F0611-EF83-4248-AE98-4DF2AC4DA88B}" dt="2023-02-14T11:17:51.551" v="1015" actId="571"/>
          <ac:picMkLst>
            <pc:docMk/>
            <pc:sldMk cId="1295083531" sldId="272"/>
            <ac:picMk id="50" creationId="{58447C96-0A66-EC68-43D3-AD562F120AF0}"/>
          </ac:picMkLst>
        </pc:picChg>
        <pc:picChg chg="add mod">
          <ac:chgData name="Lonneke Opsteegh" userId="ec2a11b1-c5a7-4109-83b7-7550d0e8e4d6" providerId="ADAL" clId="{F16F0611-EF83-4248-AE98-4DF2AC4DA88B}" dt="2023-02-14T11:17:51.551" v="1015" actId="571"/>
          <ac:picMkLst>
            <pc:docMk/>
            <pc:sldMk cId="1295083531" sldId="272"/>
            <ac:picMk id="51" creationId="{A1EF0381-C4FB-C4E6-ABEC-B85294796244}"/>
          </ac:picMkLst>
        </pc:picChg>
        <pc:picChg chg="add mod">
          <ac:chgData name="Lonneke Opsteegh" userId="ec2a11b1-c5a7-4109-83b7-7550d0e8e4d6" providerId="ADAL" clId="{F16F0611-EF83-4248-AE98-4DF2AC4DA88B}" dt="2023-02-14T11:18:48.215" v="1024" actId="571"/>
          <ac:picMkLst>
            <pc:docMk/>
            <pc:sldMk cId="1295083531" sldId="272"/>
            <ac:picMk id="52" creationId="{B34CED22-899A-8E8B-C044-274F3EE06644}"/>
          </ac:picMkLst>
        </pc:picChg>
        <pc:picChg chg="add mod">
          <ac:chgData name="Lonneke Opsteegh" userId="ec2a11b1-c5a7-4109-83b7-7550d0e8e4d6" providerId="ADAL" clId="{F16F0611-EF83-4248-AE98-4DF2AC4DA88B}" dt="2023-02-14T11:18:48.215" v="1024" actId="571"/>
          <ac:picMkLst>
            <pc:docMk/>
            <pc:sldMk cId="1295083531" sldId="272"/>
            <ac:picMk id="53" creationId="{B446CE20-4337-09E2-7C7D-E8E55F8E48C3}"/>
          </ac:picMkLst>
        </pc:picChg>
        <pc:picChg chg="add mod">
          <ac:chgData name="Lonneke Opsteegh" userId="ec2a11b1-c5a7-4109-83b7-7550d0e8e4d6" providerId="ADAL" clId="{F16F0611-EF83-4248-AE98-4DF2AC4DA88B}" dt="2023-02-14T11:19:52.099" v="1039" actId="571"/>
          <ac:picMkLst>
            <pc:docMk/>
            <pc:sldMk cId="1295083531" sldId="272"/>
            <ac:picMk id="58" creationId="{A8C02340-AA1B-7511-F14D-6B25DF8CDB40}"/>
          </ac:picMkLst>
        </pc:picChg>
        <pc:picChg chg="add mod">
          <ac:chgData name="Lonneke Opsteegh" userId="ec2a11b1-c5a7-4109-83b7-7550d0e8e4d6" providerId="ADAL" clId="{F16F0611-EF83-4248-AE98-4DF2AC4DA88B}" dt="2023-02-14T11:19:52.099" v="1039" actId="571"/>
          <ac:picMkLst>
            <pc:docMk/>
            <pc:sldMk cId="1295083531" sldId="272"/>
            <ac:picMk id="59" creationId="{90937723-A8D1-23BD-BBB7-23995C66F31A}"/>
          </ac:picMkLst>
        </pc:picChg>
        <pc:picChg chg="add mod">
          <ac:chgData name="Lonneke Opsteegh" userId="ec2a11b1-c5a7-4109-83b7-7550d0e8e4d6" providerId="ADAL" clId="{F16F0611-EF83-4248-AE98-4DF2AC4DA88B}" dt="2023-02-14T11:19:52.099" v="1039" actId="571"/>
          <ac:picMkLst>
            <pc:docMk/>
            <pc:sldMk cId="1295083531" sldId="272"/>
            <ac:picMk id="60" creationId="{0CBF9D37-6D11-B305-6F1F-B90423E538BE}"/>
          </ac:picMkLst>
        </pc:picChg>
        <pc:picChg chg="add mod">
          <ac:chgData name="Lonneke Opsteegh" userId="ec2a11b1-c5a7-4109-83b7-7550d0e8e4d6" providerId="ADAL" clId="{F16F0611-EF83-4248-AE98-4DF2AC4DA88B}" dt="2023-02-14T11:19:52.099" v="1039" actId="571"/>
          <ac:picMkLst>
            <pc:docMk/>
            <pc:sldMk cId="1295083531" sldId="272"/>
            <ac:picMk id="61" creationId="{E935FEF2-0D57-3785-C67E-BDC6A1DDDFFD}"/>
          </ac:picMkLst>
        </pc:picChg>
        <pc:picChg chg="add mod">
          <ac:chgData name="Lonneke Opsteegh" userId="ec2a11b1-c5a7-4109-83b7-7550d0e8e4d6" providerId="ADAL" clId="{F16F0611-EF83-4248-AE98-4DF2AC4DA88B}" dt="2023-02-14T11:19:52.099" v="1039" actId="571"/>
          <ac:picMkLst>
            <pc:docMk/>
            <pc:sldMk cId="1295083531" sldId="272"/>
            <ac:picMk id="62" creationId="{E596BF17-F6F6-7E7D-4F19-301B3ACE155F}"/>
          </ac:picMkLst>
        </pc:picChg>
        <pc:picChg chg="add mod">
          <ac:chgData name="Lonneke Opsteegh" userId="ec2a11b1-c5a7-4109-83b7-7550d0e8e4d6" providerId="ADAL" clId="{F16F0611-EF83-4248-AE98-4DF2AC4DA88B}" dt="2023-02-14T11:19:52.099" v="1039" actId="571"/>
          <ac:picMkLst>
            <pc:docMk/>
            <pc:sldMk cId="1295083531" sldId="272"/>
            <ac:picMk id="63" creationId="{DDF4FB2C-1FA0-8C85-3D1C-9EC3B83B1BAC}"/>
          </ac:picMkLst>
        </pc:picChg>
        <pc:cxnChg chg="add mod">
          <ac:chgData name="Lonneke Opsteegh" userId="ec2a11b1-c5a7-4109-83b7-7550d0e8e4d6" providerId="ADAL" clId="{F16F0611-EF83-4248-AE98-4DF2AC4DA88B}" dt="2023-02-14T13:28:49.190" v="1323" actId="1076"/>
          <ac:cxnSpMkLst>
            <pc:docMk/>
            <pc:sldMk cId="1295083531" sldId="272"/>
            <ac:cxnSpMk id="55" creationId="{5DD75624-F4BD-2C02-494A-84ABD3FBBA10}"/>
          </ac:cxnSpMkLst>
        </pc:cxnChg>
        <pc:cxnChg chg="add mod">
          <ac:chgData name="Lonneke Opsteegh" userId="ec2a11b1-c5a7-4109-83b7-7550d0e8e4d6" providerId="ADAL" clId="{F16F0611-EF83-4248-AE98-4DF2AC4DA88B}" dt="2023-02-14T12:02:48.866" v="1248" actId="1036"/>
          <ac:cxnSpMkLst>
            <pc:docMk/>
            <pc:sldMk cId="1295083531" sldId="272"/>
            <ac:cxnSpMk id="56" creationId="{187778F2-FB7C-FFE2-3942-F54274C90B72}"/>
          </ac:cxnSpMkLst>
        </pc:cxnChg>
        <pc:cxnChg chg="add mod">
          <ac:chgData name="Lonneke Opsteegh" userId="ec2a11b1-c5a7-4109-83b7-7550d0e8e4d6" providerId="ADAL" clId="{F16F0611-EF83-4248-AE98-4DF2AC4DA88B}" dt="2023-02-14T11:28:38.517" v="1194" actId="1036"/>
          <ac:cxnSpMkLst>
            <pc:docMk/>
            <pc:sldMk cId="1295083531" sldId="272"/>
            <ac:cxnSpMk id="57" creationId="{8479A10E-3DFD-FA22-A062-814F236BAFDD}"/>
          </ac:cxnSpMkLst>
        </pc:cxnChg>
      </pc:sldChg>
      <pc:sldChg chg="addSp delSp modSp del mod ord">
        <pc:chgData name="Lonneke Opsteegh" userId="ec2a11b1-c5a7-4109-83b7-7550d0e8e4d6" providerId="ADAL" clId="{F16F0611-EF83-4248-AE98-4DF2AC4DA88B}" dt="2023-02-02T13:18:49.684" v="409" actId="47"/>
        <pc:sldMkLst>
          <pc:docMk/>
          <pc:sldMk cId="2599604386" sldId="272"/>
        </pc:sldMkLst>
        <pc:spChg chg="add del mod">
          <ac:chgData name="Lonneke Opsteegh" userId="ec2a11b1-c5a7-4109-83b7-7550d0e8e4d6" providerId="ADAL" clId="{F16F0611-EF83-4248-AE98-4DF2AC4DA88B}" dt="2023-02-02T13:17:11.887" v="314"/>
          <ac:spMkLst>
            <pc:docMk/>
            <pc:sldMk cId="2599604386" sldId="272"/>
            <ac:spMk id="2" creationId="{07C7E070-655E-2469-C3A7-590CAF7E4B67}"/>
          </ac:spMkLst>
        </pc:spChg>
        <pc:spChg chg="add del mod">
          <ac:chgData name="Lonneke Opsteegh" userId="ec2a11b1-c5a7-4109-83b7-7550d0e8e4d6" providerId="ADAL" clId="{F16F0611-EF83-4248-AE98-4DF2AC4DA88B}" dt="2023-02-02T13:17:11.887" v="314"/>
          <ac:spMkLst>
            <pc:docMk/>
            <pc:sldMk cId="2599604386" sldId="272"/>
            <ac:spMk id="3" creationId="{D59F9C7C-B560-B7D6-D6CF-34A2F3016E8C}"/>
          </ac:spMkLst>
        </pc:spChg>
        <pc:spChg chg="mod">
          <ac:chgData name="Lonneke Opsteegh" userId="ec2a11b1-c5a7-4109-83b7-7550d0e8e4d6" providerId="ADAL" clId="{F16F0611-EF83-4248-AE98-4DF2AC4DA88B}" dt="2023-02-02T13:17:11.887" v="314"/>
          <ac:spMkLst>
            <pc:docMk/>
            <pc:sldMk cId="2599604386" sldId="272"/>
            <ac:spMk id="4" creationId="{710A0CBF-E10D-DA52-DD9C-516303C84ABD}"/>
          </ac:spMkLst>
        </pc:spChg>
        <pc:spChg chg="mod">
          <ac:chgData name="Lonneke Opsteegh" userId="ec2a11b1-c5a7-4109-83b7-7550d0e8e4d6" providerId="ADAL" clId="{F16F0611-EF83-4248-AE98-4DF2AC4DA88B}" dt="2023-02-02T13:17:11.887" v="314"/>
          <ac:spMkLst>
            <pc:docMk/>
            <pc:sldMk cId="2599604386" sldId="272"/>
            <ac:spMk id="5" creationId="{63A40F95-B56E-0ED4-AE14-5420846DA296}"/>
          </ac:spMkLst>
        </pc:spChg>
        <pc:picChg chg="del">
          <ac:chgData name="Lonneke Opsteegh" userId="ec2a11b1-c5a7-4109-83b7-7550d0e8e4d6" providerId="ADAL" clId="{F16F0611-EF83-4248-AE98-4DF2AC4DA88B}" dt="2023-02-02T13:17:10.014" v="313" actId="478"/>
          <ac:picMkLst>
            <pc:docMk/>
            <pc:sldMk cId="2599604386" sldId="272"/>
            <ac:picMk id="2050" creationId="{E9C57696-876E-81DA-C842-31AE468370FB}"/>
          </ac:picMkLst>
        </pc:picChg>
      </pc:sldChg>
      <pc:sldMasterChg chg="modSp modSldLayout">
        <pc:chgData name="Lonneke Opsteegh" userId="ec2a11b1-c5a7-4109-83b7-7550d0e8e4d6" providerId="ADAL" clId="{F16F0611-EF83-4248-AE98-4DF2AC4DA88B}" dt="2023-02-14T15:06:55.893" v="1546" actId="14100"/>
        <pc:sldMasterMkLst>
          <pc:docMk/>
          <pc:sldMasterMk cId="489246797" sldId="2147483648"/>
        </pc:sldMasterMkLst>
        <pc:sldLayoutChg chg="addSp delSp modSp mod">
          <pc:chgData name="Lonneke Opsteegh" userId="ec2a11b1-c5a7-4109-83b7-7550d0e8e4d6" providerId="ADAL" clId="{F16F0611-EF83-4248-AE98-4DF2AC4DA88B}" dt="2023-02-14T15:05:46.204" v="1539" actId="14100"/>
          <pc:sldLayoutMkLst>
            <pc:docMk/>
            <pc:sldMasterMk cId="489246797" sldId="2147483648"/>
            <pc:sldLayoutMk cId="2726669288" sldId="2147483656"/>
          </pc:sldLayoutMkLst>
          <pc:spChg chg="mod">
            <ac:chgData name="Lonneke Opsteegh" userId="ec2a11b1-c5a7-4109-83b7-7550d0e8e4d6" providerId="ADAL" clId="{F16F0611-EF83-4248-AE98-4DF2AC4DA88B}" dt="2023-02-14T15:05:42.848" v="1538" actId="14100"/>
            <ac:spMkLst>
              <pc:docMk/>
              <pc:sldMasterMk cId="489246797" sldId="2147483648"/>
              <pc:sldLayoutMk cId="2726669288" sldId="2147483656"/>
              <ac:spMk id="2" creationId="{2999FD0F-1002-DAF1-F11B-8447D2288D95}"/>
            </ac:spMkLst>
          </pc:spChg>
          <pc:spChg chg="mod">
            <ac:chgData name="Lonneke Opsteegh" userId="ec2a11b1-c5a7-4109-83b7-7550d0e8e4d6" providerId="ADAL" clId="{F16F0611-EF83-4248-AE98-4DF2AC4DA88B}" dt="2023-02-14T15:05:46.204" v="1539" actId="14100"/>
            <ac:spMkLst>
              <pc:docMk/>
              <pc:sldMasterMk cId="489246797" sldId="2147483648"/>
              <pc:sldLayoutMk cId="2726669288" sldId="2147483656"/>
              <ac:spMk id="3" creationId="{A802B085-83E8-0262-A1F6-E3868EF64F01}"/>
            </ac:spMkLst>
          </pc:spChg>
          <pc:spChg chg="add del mod ord">
            <ac:chgData name="Lonneke Opsteegh" userId="ec2a11b1-c5a7-4109-83b7-7550d0e8e4d6" providerId="ADAL" clId="{F16F0611-EF83-4248-AE98-4DF2AC4DA88B}" dt="2023-02-14T15:03:38.359" v="1490" actId="478"/>
            <ac:spMkLst>
              <pc:docMk/>
              <pc:sldMasterMk cId="489246797" sldId="2147483648"/>
              <pc:sldLayoutMk cId="2726669288" sldId="2147483656"/>
              <ac:spMk id="7" creationId="{0ED2B0CD-A8C7-C612-710D-AB27718B44A9}"/>
            </ac:spMkLst>
          </pc:spChg>
          <pc:spChg chg="mod">
            <ac:chgData name="Lonneke Opsteegh" userId="ec2a11b1-c5a7-4109-83b7-7550d0e8e4d6" providerId="ADAL" clId="{F16F0611-EF83-4248-AE98-4DF2AC4DA88B}" dt="2023-02-12T19:25:49.740" v="776"/>
            <ac:spMkLst>
              <pc:docMk/>
              <pc:sldMasterMk cId="489246797" sldId="2147483648"/>
              <pc:sldLayoutMk cId="2726669288" sldId="2147483656"/>
              <ac:spMk id="21" creationId="{D0A5B834-2B93-5D83-0751-E3E4EFE83FF7}"/>
            </ac:spMkLst>
          </pc:spChg>
          <pc:grpChg chg="add del mod">
            <ac:chgData name="Lonneke Opsteegh" userId="ec2a11b1-c5a7-4109-83b7-7550d0e8e4d6" providerId="ADAL" clId="{F16F0611-EF83-4248-AE98-4DF2AC4DA88B}" dt="2023-02-14T15:03:38.359" v="1490" actId="478"/>
            <ac:grpSpMkLst>
              <pc:docMk/>
              <pc:sldMasterMk cId="489246797" sldId="2147483648"/>
              <pc:sldLayoutMk cId="2726669288" sldId="2147483656"/>
              <ac:grpSpMk id="20" creationId="{C95948A3-2F4B-00BA-FC3F-C09BCDD6DB0B}"/>
            </ac:grpSpMkLst>
          </pc:grpChg>
          <pc:picChg chg="add del mod">
            <ac:chgData name="Lonneke Opsteegh" userId="ec2a11b1-c5a7-4109-83b7-7550d0e8e4d6" providerId="ADAL" clId="{F16F0611-EF83-4248-AE98-4DF2AC4DA88B}" dt="2023-02-14T15:03:38.359" v="1490" actId="478"/>
            <ac:picMkLst>
              <pc:docMk/>
              <pc:sldMasterMk cId="489246797" sldId="2147483648"/>
              <pc:sldLayoutMk cId="2726669288" sldId="2147483656"/>
              <ac:picMk id="9" creationId="{7A8FBC28-3EAD-DFE1-CB11-90FB71A587A4}"/>
            </ac:picMkLst>
          </pc:picChg>
          <pc:picChg chg="add del mod">
            <ac:chgData name="Lonneke Opsteegh" userId="ec2a11b1-c5a7-4109-83b7-7550d0e8e4d6" providerId="ADAL" clId="{F16F0611-EF83-4248-AE98-4DF2AC4DA88B}" dt="2023-02-14T15:03:38.359" v="1490" actId="478"/>
            <ac:picMkLst>
              <pc:docMk/>
              <pc:sldMasterMk cId="489246797" sldId="2147483648"/>
              <pc:sldLayoutMk cId="2726669288" sldId="2147483656"/>
              <ac:picMk id="17" creationId="{439ADCBB-523F-FA84-3AC4-CBAEB24C5876}"/>
            </ac:picMkLst>
          </pc:picChg>
          <pc:picChg chg="add del mod">
            <ac:chgData name="Lonneke Opsteegh" userId="ec2a11b1-c5a7-4109-83b7-7550d0e8e4d6" providerId="ADAL" clId="{F16F0611-EF83-4248-AE98-4DF2AC4DA88B}" dt="2023-02-14T15:03:38.359" v="1490" actId="478"/>
            <ac:picMkLst>
              <pc:docMk/>
              <pc:sldMasterMk cId="489246797" sldId="2147483648"/>
              <pc:sldLayoutMk cId="2726669288" sldId="2147483656"/>
              <ac:picMk id="18" creationId="{4BEF9F77-8D2E-E8C9-3705-9DF94E2B77CF}"/>
            </ac:picMkLst>
          </pc:picChg>
          <pc:picChg chg="add del mod">
            <ac:chgData name="Lonneke Opsteegh" userId="ec2a11b1-c5a7-4109-83b7-7550d0e8e4d6" providerId="ADAL" clId="{F16F0611-EF83-4248-AE98-4DF2AC4DA88B}" dt="2023-02-14T15:03:38.359" v="1490" actId="478"/>
            <ac:picMkLst>
              <pc:docMk/>
              <pc:sldMasterMk cId="489246797" sldId="2147483648"/>
              <pc:sldLayoutMk cId="2726669288" sldId="2147483656"/>
              <ac:picMk id="19" creationId="{3D985502-FF1D-6DC1-D0E4-9D7FE78548D1}"/>
            </ac:picMkLst>
          </pc:picChg>
          <pc:picChg chg="mod">
            <ac:chgData name="Lonneke Opsteegh" userId="ec2a11b1-c5a7-4109-83b7-7550d0e8e4d6" providerId="ADAL" clId="{F16F0611-EF83-4248-AE98-4DF2AC4DA88B}" dt="2023-02-12T19:25:49.740" v="776"/>
            <ac:picMkLst>
              <pc:docMk/>
              <pc:sldMasterMk cId="489246797" sldId="2147483648"/>
              <pc:sldLayoutMk cId="2726669288" sldId="2147483656"/>
              <ac:picMk id="22" creationId="{CBA44AC8-5BFE-E925-F60E-147454461D2F}"/>
            </ac:picMkLst>
          </pc:picChg>
          <pc:picChg chg="mod">
            <ac:chgData name="Lonneke Opsteegh" userId="ec2a11b1-c5a7-4109-83b7-7550d0e8e4d6" providerId="ADAL" clId="{F16F0611-EF83-4248-AE98-4DF2AC4DA88B}" dt="2023-02-12T19:25:49.740" v="776"/>
            <ac:picMkLst>
              <pc:docMk/>
              <pc:sldMasterMk cId="489246797" sldId="2147483648"/>
              <pc:sldLayoutMk cId="2726669288" sldId="2147483656"/>
              <ac:picMk id="23" creationId="{C3FC0651-6CB2-55FA-902F-1FB728BE9927}"/>
            </ac:picMkLst>
          </pc:picChg>
          <pc:picChg chg="mod">
            <ac:chgData name="Lonneke Opsteegh" userId="ec2a11b1-c5a7-4109-83b7-7550d0e8e4d6" providerId="ADAL" clId="{F16F0611-EF83-4248-AE98-4DF2AC4DA88B}" dt="2023-02-12T19:25:49.740" v="776"/>
            <ac:picMkLst>
              <pc:docMk/>
              <pc:sldMasterMk cId="489246797" sldId="2147483648"/>
              <pc:sldLayoutMk cId="2726669288" sldId="2147483656"/>
              <ac:picMk id="24" creationId="{BCD07538-97F4-FF9C-EDE9-733947300690}"/>
            </ac:picMkLst>
          </pc:picChg>
          <pc:picChg chg="mod">
            <ac:chgData name="Lonneke Opsteegh" userId="ec2a11b1-c5a7-4109-83b7-7550d0e8e4d6" providerId="ADAL" clId="{F16F0611-EF83-4248-AE98-4DF2AC4DA88B}" dt="2023-02-12T19:25:49.740" v="776"/>
            <ac:picMkLst>
              <pc:docMk/>
              <pc:sldMasterMk cId="489246797" sldId="2147483648"/>
              <pc:sldLayoutMk cId="2726669288" sldId="2147483656"/>
              <ac:picMk id="25" creationId="{AA2CCA52-5CFB-3EE0-7839-7076B163F1BC}"/>
            </ac:picMkLst>
          </pc:picChg>
          <pc:picChg chg="mod">
            <ac:chgData name="Lonneke Opsteegh" userId="ec2a11b1-c5a7-4109-83b7-7550d0e8e4d6" providerId="ADAL" clId="{F16F0611-EF83-4248-AE98-4DF2AC4DA88B}" dt="2023-02-12T19:25:49.740" v="776"/>
            <ac:picMkLst>
              <pc:docMk/>
              <pc:sldMasterMk cId="489246797" sldId="2147483648"/>
              <pc:sldLayoutMk cId="2726669288" sldId="2147483656"/>
              <ac:picMk id="26" creationId="{BF1550C6-AFA0-7897-A9B5-B50AC4AD9FE3}"/>
            </ac:picMkLst>
          </pc:picChg>
          <pc:picChg chg="mod">
            <ac:chgData name="Lonneke Opsteegh" userId="ec2a11b1-c5a7-4109-83b7-7550d0e8e4d6" providerId="ADAL" clId="{F16F0611-EF83-4248-AE98-4DF2AC4DA88B}" dt="2023-02-12T19:25:49.740" v="776"/>
            <ac:picMkLst>
              <pc:docMk/>
              <pc:sldMasterMk cId="489246797" sldId="2147483648"/>
              <pc:sldLayoutMk cId="2726669288" sldId="2147483656"/>
              <ac:picMk id="27" creationId="{9001DD52-5DD3-0DEF-75A3-87FE3E755B12}"/>
            </ac:picMkLst>
          </pc:picChg>
          <pc:picChg chg="mod">
            <ac:chgData name="Lonneke Opsteegh" userId="ec2a11b1-c5a7-4109-83b7-7550d0e8e4d6" providerId="ADAL" clId="{F16F0611-EF83-4248-AE98-4DF2AC4DA88B}" dt="2023-02-12T19:25:49.740" v="776"/>
            <ac:picMkLst>
              <pc:docMk/>
              <pc:sldMasterMk cId="489246797" sldId="2147483648"/>
              <pc:sldLayoutMk cId="2726669288" sldId="2147483656"/>
              <ac:picMk id="28" creationId="{65CB5CD9-A09B-8885-06A2-59D6BFB317E5}"/>
            </ac:picMkLst>
          </pc:picChg>
          <pc:picChg chg="mod">
            <ac:chgData name="Lonneke Opsteegh" userId="ec2a11b1-c5a7-4109-83b7-7550d0e8e4d6" providerId="ADAL" clId="{F16F0611-EF83-4248-AE98-4DF2AC4DA88B}" dt="2023-02-12T19:25:49.740" v="776"/>
            <ac:picMkLst>
              <pc:docMk/>
              <pc:sldMasterMk cId="489246797" sldId="2147483648"/>
              <pc:sldLayoutMk cId="2726669288" sldId="2147483656"/>
              <ac:picMk id="29" creationId="{FD32F049-035B-52A1-3457-87BD27296B1E}"/>
            </ac:picMkLst>
          </pc:picChg>
        </pc:sldLayoutChg>
        <pc:sldLayoutChg chg="addSp delSp modSp mod">
          <pc:chgData name="Lonneke Opsteegh" userId="ec2a11b1-c5a7-4109-83b7-7550d0e8e4d6" providerId="ADAL" clId="{F16F0611-EF83-4248-AE98-4DF2AC4DA88B}" dt="2023-02-14T15:06:04.293" v="1540" actId="14100"/>
          <pc:sldLayoutMkLst>
            <pc:docMk/>
            <pc:sldMasterMk cId="489246797" sldId="2147483648"/>
            <pc:sldLayoutMk cId="4273537835" sldId="2147483657"/>
          </pc:sldLayoutMkLst>
          <pc:spChg chg="mod">
            <ac:chgData name="Lonneke Opsteegh" userId="ec2a11b1-c5a7-4109-83b7-7550d0e8e4d6" providerId="ADAL" clId="{F16F0611-EF83-4248-AE98-4DF2AC4DA88B}" dt="2023-02-14T15:06:04.293" v="1540" actId="14100"/>
            <ac:spMkLst>
              <pc:docMk/>
              <pc:sldMasterMk cId="489246797" sldId="2147483648"/>
              <pc:sldLayoutMk cId="4273537835" sldId="2147483657"/>
              <ac:spMk id="2" creationId="{2999FD0F-1002-DAF1-F11B-8447D2288D95}"/>
            </ac:spMkLst>
          </pc:spChg>
          <pc:spChg chg="mod">
            <ac:chgData name="Lonneke Opsteegh" userId="ec2a11b1-c5a7-4109-83b7-7550d0e8e4d6" providerId="ADAL" clId="{F16F0611-EF83-4248-AE98-4DF2AC4DA88B}" dt="2023-02-14T15:06:04.293" v="1540" actId="14100"/>
            <ac:spMkLst>
              <pc:docMk/>
              <pc:sldMasterMk cId="489246797" sldId="2147483648"/>
              <pc:sldLayoutMk cId="4273537835" sldId="2147483657"/>
              <ac:spMk id="3" creationId="{A802B085-83E8-0262-A1F6-E3868EF64F01}"/>
            </ac:spMkLst>
          </pc:spChg>
          <pc:spChg chg="mod">
            <ac:chgData name="Lonneke Opsteegh" userId="ec2a11b1-c5a7-4109-83b7-7550d0e8e4d6" providerId="ADAL" clId="{F16F0611-EF83-4248-AE98-4DF2AC4DA88B}" dt="2023-02-14T15:04:57.942" v="1530" actId="1076"/>
            <ac:spMkLst>
              <pc:docMk/>
              <pc:sldMasterMk cId="489246797" sldId="2147483648"/>
              <pc:sldLayoutMk cId="4273537835" sldId="2147483657"/>
              <ac:spMk id="6" creationId="{A98AD632-609B-FE74-E40B-3588F7E9799C}"/>
            </ac:spMkLst>
          </pc:spChg>
          <pc:spChg chg="add del mod ord">
            <ac:chgData name="Lonneke Opsteegh" userId="ec2a11b1-c5a7-4109-83b7-7550d0e8e4d6" providerId="ADAL" clId="{F16F0611-EF83-4248-AE98-4DF2AC4DA88B}" dt="2023-02-14T15:04:55.430" v="1524" actId="478"/>
            <ac:spMkLst>
              <pc:docMk/>
              <pc:sldMasterMk cId="489246797" sldId="2147483648"/>
              <pc:sldLayoutMk cId="4273537835" sldId="2147483657"/>
              <ac:spMk id="8" creationId="{217EA168-E605-6310-8407-06EB0FD43FDB}"/>
            </ac:spMkLst>
          </pc:spChg>
          <pc:spChg chg="mod">
            <ac:chgData name="Lonneke Opsteegh" userId="ec2a11b1-c5a7-4109-83b7-7550d0e8e4d6" providerId="ADAL" clId="{F16F0611-EF83-4248-AE98-4DF2AC4DA88B}" dt="2023-02-12T19:27:03.525" v="792" actId="207"/>
            <ac:spMkLst>
              <pc:docMk/>
              <pc:sldMasterMk cId="489246797" sldId="2147483648"/>
              <pc:sldLayoutMk cId="4273537835" sldId="2147483657"/>
              <ac:spMk id="21" creationId="{9AE87D90-140C-3E1E-44BD-32A6A5D1D557}"/>
            </ac:spMkLst>
          </pc:spChg>
          <pc:spChg chg="add del mod">
            <ac:chgData name="Lonneke Opsteegh" userId="ec2a11b1-c5a7-4109-83b7-7550d0e8e4d6" providerId="ADAL" clId="{F16F0611-EF83-4248-AE98-4DF2AC4DA88B}" dt="2023-02-12T19:26:49.900" v="789" actId="478"/>
            <ac:spMkLst>
              <pc:docMk/>
              <pc:sldMasterMk cId="489246797" sldId="2147483648"/>
              <pc:sldLayoutMk cId="4273537835" sldId="2147483657"/>
              <ac:spMk id="30" creationId="{FAD25E98-7FBF-B854-A1AD-5148623DE893}"/>
            </ac:spMkLst>
          </pc:spChg>
          <pc:grpChg chg="add del mod">
            <ac:chgData name="Lonneke Opsteegh" userId="ec2a11b1-c5a7-4109-83b7-7550d0e8e4d6" providerId="ADAL" clId="{F16F0611-EF83-4248-AE98-4DF2AC4DA88B}" dt="2023-02-14T15:04:59.828" v="1533" actId="478"/>
            <ac:grpSpMkLst>
              <pc:docMk/>
              <pc:sldMasterMk cId="489246797" sldId="2147483648"/>
              <pc:sldLayoutMk cId="4273537835" sldId="2147483657"/>
              <ac:grpSpMk id="20" creationId="{E4B352C2-CC7D-9AA6-15A9-A943CB7AEA2F}"/>
            </ac:grpSpMkLst>
          </pc:grpChg>
          <pc:picChg chg="add del mod">
            <ac:chgData name="Lonneke Opsteegh" userId="ec2a11b1-c5a7-4109-83b7-7550d0e8e4d6" providerId="ADAL" clId="{F16F0611-EF83-4248-AE98-4DF2AC4DA88B}" dt="2023-02-14T15:04:55.977" v="1526" actId="478"/>
            <ac:picMkLst>
              <pc:docMk/>
              <pc:sldMasterMk cId="489246797" sldId="2147483648"/>
              <pc:sldLayoutMk cId="4273537835" sldId="2147483657"/>
              <ac:picMk id="9" creationId="{C965895A-68C3-CA88-C3E7-924DA18E48FD}"/>
            </ac:picMkLst>
          </pc:picChg>
          <pc:picChg chg="add del mod">
            <ac:chgData name="Lonneke Opsteegh" userId="ec2a11b1-c5a7-4109-83b7-7550d0e8e4d6" providerId="ADAL" clId="{F16F0611-EF83-4248-AE98-4DF2AC4DA88B}" dt="2023-02-14T15:04:58.982" v="1531" actId="478"/>
            <ac:picMkLst>
              <pc:docMk/>
              <pc:sldMasterMk cId="489246797" sldId="2147483648"/>
              <pc:sldLayoutMk cId="4273537835" sldId="2147483657"/>
              <ac:picMk id="17" creationId="{D6E00EC3-B093-7199-8F36-E3E580A7808F}"/>
            </ac:picMkLst>
          </pc:picChg>
          <pc:picChg chg="add del mod">
            <ac:chgData name="Lonneke Opsteegh" userId="ec2a11b1-c5a7-4109-83b7-7550d0e8e4d6" providerId="ADAL" clId="{F16F0611-EF83-4248-AE98-4DF2AC4DA88B}" dt="2023-02-14T15:04:54.856" v="1522" actId="478"/>
            <ac:picMkLst>
              <pc:docMk/>
              <pc:sldMasterMk cId="489246797" sldId="2147483648"/>
              <pc:sldLayoutMk cId="4273537835" sldId="2147483657"/>
              <ac:picMk id="18" creationId="{15B3D55A-E5F9-03EF-2D36-13C387F269C2}"/>
            </ac:picMkLst>
          </pc:picChg>
          <pc:picChg chg="add del mod">
            <ac:chgData name="Lonneke Opsteegh" userId="ec2a11b1-c5a7-4109-83b7-7550d0e8e4d6" providerId="ADAL" clId="{F16F0611-EF83-4248-AE98-4DF2AC4DA88B}" dt="2023-02-14T15:04:57.255" v="1528" actId="478"/>
            <ac:picMkLst>
              <pc:docMk/>
              <pc:sldMasterMk cId="489246797" sldId="2147483648"/>
              <pc:sldLayoutMk cId="4273537835" sldId="2147483657"/>
              <ac:picMk id="19" creationId="{65705C31-656E-1E8B-215B-CB49DD6B8161}"/>
            </ac:picMkLst>
          </pc:picChg>
          <pc:picChg chg="mod">
            <ac:chgData name="Lonneke Opsteegh" userId="ec2a11b1-c5a7-4109-83b7-7550d0e8e4d6" providerId="ADAL" clId="{F16F0611-EF83-4248-AE98-4DF2AC4DA88B}" dt="2023-02-12T19:25:53.725" v="777"/>
            <ac:picMkLst>
              <pc:docMk/>
              <pc:sldMasterMk cId="489246797" sldId="2147483648"/>
              <pc:sldLayoutMk cId="4273537835" sldId="2147483657"/>
              <ac:picMk id="22" creationId="{07D7E451-774C-95C1-94FE-A2601E0CF21E}"/>
            </ac:picMkLst>
          </pc:picChg>
          <pc:picChg chg="mod">
            <ac:chgData name="Lonneke Opsteegh" userId="ec2a11b1-c5a7-4109-83b7-7550d0e8e4d6" providerId="ADAL" clId="{F16F0611-EF83-4248-AE98-4DF2AC4DA88B}" dt="2023-02-12T19:25:53.725" v="777"/>
            <ac:picMkLst>
              <pc:docMk/>
              <pc:sldMasterMk cId="489246797" sldId="2147483648"/>
              <pc:sldLayoutMk cId="4273537835" sldId="2147483657"/>
              <ac:picMk id="23" creationId="{15A2EA4C-8829-F77D-F38A-F0151ACFC1DA}"/>
            </ac:picMkLst>
          </pc:picChg>
          <pc:picChg chg="mod">
            <ac:chgData name="Lonneke Opsteegh" userId="ec2a11b1-c5a7-4109-83b7-7550d0e8e4d6" providerId="ADAL" clId="{F16F0611-EF83-4248-AE98-4DF2AC4DA88B}" dt="2023-02-12T19:25:53.725" v="777"/>
            <ac:picMkLst>
              <pc:docMk/>
              <pc:sldMasterMk cId="489246797" sldId="2147483648"/>
              <pc:sldLayoutMk cId="4273537835" sldId="2147483657"/>
              <ac:picMk id="24" creationId="{2309D1AA-EDE9-A754-BAEE-74A5A7FD8E18}"/>
            </ac:picMkLst>
          </pc:picChg>
          <pc:picChg chg="mod">
            <ac:chgData name="Lonneke Opsteegh" userId="ec2a11b1-c5a7-4109-83b7-7550d0e8e4d6" providerId="ADAL" clId="{F16F0611-EF83-4248-AE98-4DF2AC4DA88B}" dt="2023-02-12T19:25:53.725" v="777"/>
            <ac:picMkLst>
              <pc:docMk/>
              <pc:sldMasterMk cId="489246797" sldId="2147483648"/>
              <pc:sldLayoutMk cId="4273537835" sldId="2147483657"/>
              <ac:picMk id="25" creationId="{69E85799-F4EF-FAF0-EC30-DC509EDE52A3}"/>
            </ac:picMkLst>
          </pc:picChg>
          <pc:picChg chg="mod">
            <ac:chgData name="Lonneke Opsteegh" userId="ec2a11b1-c5a7-4109-83b7-7550d0e8e4d6" providerId="ADAL" clId="{F16F0611-EF83-4248-AE98-4DF2AC4DA88B}" dt="2023-02-12T19:25:53.725" v="777"/>
            <ac:picMkLst>
              <pc:docMk/>
              <pc:sldMasterMk cId="489246797" sldId="2147483648"/>
              <pc:sldLayoutMk cId="4273537835" sldId="2147483657"/>
              <ac:picMk id="26" creationId="{7182AAA4-97C4-279A-3956-5F3824CEC3BC}"/>
            </ac:picMkLst>
          </pc:picChg>
          <pc:picChg chg="mod">
            <ac:chgData name="Lonneke Opsteegh" userId="ec2a11b1-c5a7-4109-83b7-7550d0e8e4d6" providerId="ADAL" clId="{F16F0611-EF83-4248-AE98-4DF2AC4DA88B}" dt="2023-02-12T19:25:53.725" v="777"/>
            <ac:picMkLst>
              <pc:docMk/>
              <pc:sldMasterMk cId="489246797" sldId="2147483648"/>
              <pc:sldLayoutMk cId="4273537835" sldId="2147483657"/>
              <ac:picMk id="27" creationId="{1A2BDAEF-D284-0ACA-D289-C6103A789FF1}"/>
            </ac:picMkLst>
          </pc:picChg>
          <pc:picChg chg="mod">
            <ac:chgData name="Lonneke Opsteegh" userId="ec2a11b1-c5a7-4109-83b7-7550d0e8e4d6" providerId="ADAL" clId="{F16F0611-EF83-4248-AE98-4DF2AC4DA88B}" dt="2023-02-12T19:25:53.725" v="777"/>
            <ac:picMkLst>
              <pc:docMk/>
              <pc:sldMasterMk cId="489246797" sldId="2147483648"/>
              <pc:sldLayoutMk cId="4273537835" sldId="2147483657"/>
              <ac:picMk id="28" creationId="{D158DED8-9488-5580-354C-E5E11547C90D}"/>
            </ac:picMkLst>
          </pc:picChg>
          <pc:picChg chg="mod">
            <ac:chgData name="Lonneke Opsteegh" userId="ec2a11b1-c5a7-4109-83b7-7550d0e8e4d6" providerId="ADAL" clId="{F16F0611-EF83-4248-AE98-4DF2AC4DA88B}" dt="2023-02-12T19:25:53.725" v="777"/>
            <ac:picMkLst>
              <pc:docMk/>
              <pc:sldMasterMk cId="489246797" sldId="2147483648"/>
              <pc:sldLayoutMk cId="4273537835" sldId="2147483657"/>
              <ac:picMk id="29" creationId="{3382C35B-656B-0A36-05D3-F7ED0E9ED0C3}"/>
            </ac:picMkLst>
          </pc:picChg>
        </pc:sldLayoutChg>
        <pc:sldLayoutChg chg="addSp delSp modSp mod">
          <pc:chgData name="Lonneke Opsteegh" userId="ec2a11b1-c5a7-4109-83b7-7550d0e8e4d6" providerId="ADAL" clId="{F16F0611-EF83-4248-AE98-4DF2AC4DA88B}" dt="2023-02-14T15:06:17.586" v="1541" actId="14100"/>
          <pc:sldLayoutMkLst>
            <pc:docMk/>
            <pc:sldMasterMk cId="489246797" sldId="2147483648"/>
            <pc:sldLayoutMk cId="4072893671" sldId="2147483658"/>
          </pc:sldLayoutMkLst>
          <pc:spChg chg="mod">
            <ac:chgData name="Lonneke Opsteegh" userId="ec2a11b1-c5a7-4109-83b7-7550d0e8e4d6" providerId="ADAL" clId="{F16F0611-EF83-4248-AE98-4DF2AC4DA88B}" dt="2023-02-14T15:06:17.586" v="1541" actId="14100"/>
            <ac:spMkLst>
              <pc:docMk/>
              <pc:sldMasterMk cId="489246797" sldId="2147483648"/>
              <pc:sldLayoutMk cId="4072893671" sldId="2147483658"/>
              <ac:spMk id="2" creationId="{2999FD0F-1002-DAF1-F11B-8447D2288D95}"/>
            </ac:spMkLst>
          </pc:spChg>
          <pc:spChg chg="mod">
            <ac:chgData name="Lonneke Opsteegh" userId="ec2a11b1-c5a7-4109-83b7-7550d0e8e4d6" providerId="ADAL" clId="{F16F0611-EF83-4248-AE98-4DF2AC4DA88B}" dt="2023-02-14T15:06:17.586" v="1541" actId="14100"/>
            <ac:spMkLst>
              <pc:docMk/>
              <pc:sldMasterMk cId="489246797" sldId="2147483648"/>
              <pc:sldLayoutMk cId="4072893671" sldId="2147483658"/>
              <ac:spMk id="3" creationId="{A802B085-83E8-0262-A1F6-E3868EF64F01}"/>
            </ac:spMkLst>
          </pc:spChg>
          <pc:spChg chg="add del mod ord">
            <ac:chgData name="Lonneke Opsteegh" userId="ec2a11b1-c5a7-4109-83b7-7550d0e8e4d6" providerId="ADAL" clId="{F16F0611-EF83-4248-AE98-4DF2AC4DA88B}" dt="2023-02-14T15:04:06.013" v="1498" actId="478"/>
            <ac:spMkLst>
              <pc:docMk/>
              <pc:sldMasterMk cId="489246797" sldId="2147483648"/>
              <pc:sldLayoutMk cId="4072893671" sldId="2147483658"/>
              <ac:spMk id="8" creationId="{360ECA4B-1AF5-7883-CD2F-98A3365F7685}"/>
            </ac:spMkLst>
          </pc:spChg>
          <pc:spChg chg="mod">
            <ac:chgData name="Lonneke Opsteegh" userId="ec2a11b1-c5a7-4109-83b7-7550d0e8e4d6" providerId="ADAL" clId="{F16F0611-EF83-4248-AE98-4DF2AC4DA88B}" dt="2023-02-12T19:27:50.927" v="798" actId="207"/>
            <ac:spMkLst>
              <pc:docMk/>
              <pc:sldMasterMk cId="489246797" sldId="2147483648"/>
              <pc:sldLayoutMk cId="4072893671" sldId="2147483658"/>
              <ac:spMk id="21" creationId="{ECBABBA0-61C9-5751-1819-8F3853875FC7}"/>
            </ac:spMkLst>
          </pc:spChg>
          <pc:grpChg chg="add del mod">
            <ac:chgData name="Lonneke Opsteegh" userId="ec2a11b1-c5a7-4109-83b7-7550d0e8e4d6" providerId="ADAL" clId="{F16F0611-EF83-4248-AE98-4DF2AC4DA88B}" dt="2023-02-14T15:04:01.548" v="1492" actId="478"/>
            <ac:grpSpMkLst>
              <pc:docMk/>
              <pc:sldMasterMk cId="489246797" sldId="2147483648"/>
              <pc:sldLayoutMk cId="4072893671" sldId="2147483658"/>
              <ac:grpSpMk id="20" creationId="{BA227576-AEC8-98A3-6EF0-DE9DA34BC05B}"/>
            </ac:grpSpMkLst>
          </pc:grpChg>
          <pc:picChg chg="add del mod">
            <ac:chgData name="Lonneke Opsteegh" userId="ec2a11b1-c5a7-4109-83b7-7550d0e8e4d6" providerId="ADAL" clId="{F16F0611-EF83-4248-AE98-4DF2AC4DA88B}" dt="2023-02-14T15:04:04.548" v="1495" actId="478"/>
            <ac:picMkLst>
              <pc:docMk/>
              <pc:sldMasterMk cId="489246797" sldId="2147483648"/>
              <pc:sldLayoutMk cId="4072893671" sldId="2147483658"/>
              <ac:picMk id="9" creationId="{29CF1614-DE06-129E-DAF6-C22411507581}"/>
            </ac:picMkLst>
          </pc:picChg>
          <pc:picChg chg="add del mod">
            <ac:chgData name="Lonneke Opsteegh" userId="ec2a11b1-c5a7-4109-83b7-7550d0e8e4d6" providerId="ADAL" clId="{F16F0611-EF83-4248-AE98-4DF2AC4DA88B}" dt="2023-02-14T15:04:02.888" v="1493" actId="478"/>
            <ac:picMkLst>
              <pc:docMk/>
              <pc:sldMasterMk cId="489246797" sldId="2147483648"/>
              <pc:sldLayoutMk cId="4072893671" sldId="2147483658"/>
              <ac:picMk id="17" creationId="{B4C42BA0-AA57-CA8B-8370-BC91F65174E1}"/>
            </ac:picMkLst>
          </pc:picChg>
          <pc:picChg chg="add del mod">
            <ac:chgData name="Lonneke Opsteegh" userId="ec2a11b1-c5a7-4109-83b7-7550d0e8e4d6" providerId="ADAL" clId="{F16F0611-EF83-4248-AE98-4DF2AC4DA88B}" dt="2023-02-14T15:04:05.167" v="1496" actId="478"/>
            <ac:picMkLst>
              <pc:docMk/>
              <pc:sldMasterMk cId="489246797" sldId="2147483648"/>
              <pc:sldLayoutMk cId="4072893671" sldId="2147483658"/>
              <ac:picMk id="18" creationId="{12241F2F-073E-4EB0-A629-E00A4FEE635F}"/>
            </ac:picMkLst>
          </pc:picChg>
          <pc:picChg chg="add del mod">
            <ac:chgData name="Lonneke Opsteegh" userId="ec2a11b1-c5a7-4109-83b7-7550d0e8e4d6" providerId="ADAL" clId="{F16F0611-EF83-4248-AE98-4DF2AC4DA88B}" dt="2023-02-14T15:04:04.055" v="1494" actId="478"/>
            <ac:picMkLst>
              <pc:docMk/>
              <pc:sldMasterMk cId="489246797" sldId="2147483648"/>
              <pc:sldLayoutMk cId="4072893671" sldId="2147483658"/>
              <ac:picMk id="19" creationId="{A9457B51-C897-8BA3-D256-E6EB0DA7495E}"/>
            </ac:picMkLst>
          </pc:picChg>
          <pc:picChg chg="mod">
            <ac:chgData name="Lonneke Opsteegh" userId="ec2a11b1-c5a7-4109-83b7-7550d0e8e4d6" providerId="ADAL" clId="{F16F0611-EF83-4248-AE98-4DF2AC4DA88B}" dt="2023-02-12T19:25:56.101" v="778"/>
            <ac:picMkLst>
              <pc:docMk/>
              <pc:sldMasterMk cId="489246797" sldId="2147483648"/>
              <pc:sldLayoutMk cId="4072893671" sldId="2147483658"/>
              <ac:picMk id="22" creationId="{CC2A9260-6B70-FED7-1996-8F2F3D5EF071}"/>
            </ac:picMkLst>
          </pc:picChg>
          <pc:picChg chg="mod">
            <ac:chgData name="Lonneke Opsteegh" userId="ec2a11b1-c5a7-4109-83b7-7550d0e8e4d6" providerId="ADAL" clId="{F16F0611-EF83-4248-AE98-4DF2AC4DA88B}" dt="2023-02-12T19:25:56.101" v="778"/>
            <ac:picMkLst>
              <pc:docMk/>
              <pc:sldMasterMk cId="489246797" sldId="2147483648"/>
              <pc:sldLayoutMk cId="4072893671" sldId="2147483658"/>
              <ac:picMk id="23" creationId="{8F228AEF-CE20-C942-E590-9B3D5C6835AE}"/>
            </ac:picMkLst>
          </pc:picChg>
          <pc:picChg chg="mod">
            <ac:chgData name="Lonneke Opsteegh" userId="ec2a11b1-c5a7-4109-83b7-7550d0e8e4d6" providerId="ADAL" clId="{F16F0611-EF83-4248-AE98-4DF2AC4DA88B}" dt="2023-02-12T19:25:56.101" v="778"/>
            <ac:picMkLst>
              <pc:docMk/>
              <pc:sldMasterMk cId="489246797" sldId="2147483648"/>
              <pc:sldLayoutMk cId="4072893671" sldId="2147483658"/>
              <ac:picMk id="24" creationId="{658F91C5-BBE4-CE0F-6063-B45956BCCC90}"/>
            </ac:picMkLst>
          </pc:picChg>
          <pc:picChg chg="mod">
            <ac:chgData name="Lonneke Opsteegh" userId="ec2a11b1-c5a7-4109-83b7-7550d0e8e4d6" providerId="ADAL" clId="{F16F0611-EF83-4248-AE98-4DF2AC4DA88B}" dt="2023-02-12T19:25:56.101" v="778"/>
            <ac:picMkLst>
              <pc:docMk/>
              <pc:sldMasterMk cId="489246797" sldId="2147483648"/>
              <pc:sldLayoutMk cId="4072893671" sldId="2147483658"/>
              <ac:picMk id="25" creationId="{D20D076F-A35E-DA13-19FE-404BB8A09299}"/>
            </ac:picMkLst>
          </pc:picChg>
          <pc:picChg chg="mod">
            <ac:chgData name="Lonneke Opsteegh" userId="ec2a11b1-c5a7-4109-83b7-7550d0e8e4d6" providerId="ADAL" clId="{F16F0611-EF83-4248-AE98-4DF2AC4DA88B}" dt="2023-02-12T19:25:56.101" v="778"/>
            <ac:picMkLst>
              <pc:docMk/>
              <pc:sldMasterMk cId="489246797" sldId="2147483648"/>
              <pc:sldLayoutMk cId="4072893671" sldId="2147483658"/>
              <ac:picMk id="26" creationId="{4CD05E79-1A6D-70E5-231B-34C0EFB90FD9}"/>
            </ac:picMkLst>
          </pc:picChg>
          <pc:picChg chg="mod">
            <ac:chgData name="Lonneke Opsteegh" userId="ec2a11b1-c5a7-4109-83b7-7550d0e8e4d6" providerId="ADAL" clId="{F16F0611-EF83-4248-AE98-4DF2AC4DA88B}" dt="2023-02-12T19:25:56.101" v="778"/>
            <ac:picMkLst>
              <pc:docMk/>
              <pc:sldMasterMk cId="489246797" sldId="2147483648"/>
              <pc:sldLayoutMk cId="4072893671" sldId="2147483658"/>
              <ac:picMk id="27" creationId="{1168BAF0-DADE-D6C1-56BA-B9B5AE5E69E8}"/>
            </ac:picMkLst>
          </pc:picChg>
          <pc:picChg chg="mod">
            <ac:chgData name="Lonneke Opsteegh" userId="ec2a11b1-c5a7-4109-83b7-7550d0e8e4d6" providerId="ADAL" clId="{F16F0611-EF83-4248-AE98-4DF2AC4DA88B}" dt="2023-02-12T19:25:56.101" v="778"/>
            <ac:picMkLst>
              <pc:docMk/>
              <pc:sldMasterMk cId="489246797" sldId="2147483648"/>
              <pc:sldLayoutMk cId="4072893671" sldId="2147483658"/>
              <ac:picMk id="28" creationId="{B513D928-7204-0C36-E780-621750EF824F}"/>
            </ac:picMkLst>
          </pc:picChg>
          <pc:picChg chg="mod">
            <ac:chgData name="Lonneke Opsteegh" userId="ec2a11b1-c5a7-4109-83b7-7550d0e8e4d6" providerId="ADAL" clId="{F16F0611-EF83-4248-AE98-4DF2AC4DA88B}" dt="2023-02-12T19:25:56.101" v="778"/>
            <ac:picMkLst>
              <pc:docMk/>
              <pc:sldMasterMk cId="489246797" sldId="2147483648"/>
              <pc:sldLayoutMk cId="4072893671" sldId="2147483658"/>
              <ac:picMk id="29" creationId="{6048A70F-0227-34AF-967C-D9054F0A88C3}"/>
            </ac:picMkLst>
          </pc:picChg>
        </pc:sldLayoutChg>
        <pc:sldLayoutChg chg="addSp delSp modSp mod">
          <pc:chgData name="Lonneke Opsteegh" userId="ec2a11b1-c5a7-4109-83b7-7550d0e8e4d6" providerId="ADAL" clId="{F16F0611-EF83-4248-AE98-4DF2AC4DA88B}" dt="2023-02-14T15:06:33.003" v="1542" actId="14100"/>
          <pc:sldLayoutMkLst>
            <pc:docMk/>
            <pc:sldMasterMk cId="489246797" sldId="2147483648"/>
            <pc:sldLayoutMk cId="3007318907" sldId="2147483659"/>
          </pc:sldLayoutMkLst>
          <pc:spChg chg="mod">
            <ac:chgData name="Lonneke Opsteegh" userId="ec2a11b1-c5a7-4109-83b7-7550d0e8e4d6" providerId="ADAL" clId="{F16F0611-EF83-4248-AE98-4DF2AC4DA88B}" dt="2023-02-14T15:06:33.003" v="1542" actId="14100"/>
            <ac:spMkLst>
              <pc:docMk/>
              <pc:sldMasterMk cId="489246797" sldId="2147483648"/>
              <pc:sldLayoutMk cId="3007318907" sldId="2147483659"/>
              <ac:spMk id="2" creationId="{2999FD0F-1002-DAF1-F11B-8447D2288D95}"/>
            </ac:spMkLst>
          </pc:spChg>
          <pc:spChg chg="mod">
            <ac:chgData name="Lonneke Opsteegh" userId="ec2a11b1-c5a7-4109-83b7-7550d0e8e4d6" providerId="ADAL" clId="{F16F0611-EF83-4248-AE98-4DF2AC4DA88B}" dt="2023-02-14T15:06:33.003" v="1542" actId="14100"/>
            <ac:spMkLst>
              <pc:docMk/>
              <pc:sldMasterMk cId="489246797" sldId="2147483648"/>
              <pc:sldLayoutMk cId="3007318907" sldId="2147483659"/>
              <ac:spMk id="3" creationId="{A802B085-83E8-0262-A1F6-E3868EF64F01}"/>
            </ac:spMkLst>
          </pc:spChg>
          <pc:spChg chg="add del mod ord">
            <ac:chgData name="Lonneke Opsteegh" userId="ec2a11b1-c5a7-4109-83b7-7550d0e8e4d6" providerId="ADAL" clId="{F16F0611-EF83-4248-AE98-4DF2AC4DA88B}" dt="2023-02-14T15:04:09.705" v="1501" actId="478"/>
            <ac:spMkLst>
              <pc:docMk/>
              <pc:sldMasterMk cId="489246797" sldId="2147483648"/>
              <pc:sldLayoutMk cId="3007318907" sldId="2147483659"/>
              <ac:spMk id="8" creationId="{ED5659CD-7172-19EF-A495-61540F6D05A4}"/>
            </ac:spMkLst>
          </pc:spChg>
          <pc:spChg chg="mod">
            <ac:chgData name="Lonneke Opsteegh" userId="ec2a11b1-c5a7-4109-83b7-7550d0e8e4d6" providerId="ADAL" clId="{F16F0611-EF83-4248-AE98-4DF2AC4DA88B}" dt="2023-02-12T19:28:22.652" v="802" actId="207"/>
            <ac:spMkLst>
              <pc:docMk/>
              <pc:sldMasterMk cId="489246797" sldId="2147483648"/>
              <pc:sldLayoutMk cId="3007318907" sldId="2147483659"/>
              <ac:spMk id="21" creationId="{F54220BB-F2A4-DB21-09FD-D7C2B5778709}"/>
            </ac:spMkLst>
          </pc:spChg>
          <pc:grpChg chg="add del mod">
            <ac:chgData name="Lonneke Opsteegh" userId="ec2a11b1-c5a7-4109-83b7-7550d0e8e4d6" providerId="ADAL" clId="{F16F0611-EF83-4248-AE98-4DF2AC4DA88B}" dt="2023-02-14T15:04:08.333" v="1499" actId="478"/>
            <ac:grpSpMkLst>
              <pc:docMk/>
              <pc:sldMasterMk cId="489246797" sldId="2147483648"/>
              <pc:sldLayoutMk cId="3007318907" sldId="2147483659"/>
              <ac:grpSpMk id="20" creationId="{FE10E1DD-76FB-A359-B418-53496B5398E6}"/>
            </ac:grpSpMkLst>
          </pc:grpChg>
          <pc:picChg chg="add del mod">
            <ac:chgData name="Lonneke Opsteegh" userId="ec2a11b1-c5a7-4109-83b7-7550d0e8e4d6" providerId="ADAL" clId="{F16F0611-EF83-4248-AE98-4DF2AC4DA88B}" dt="2023-02-14T15:04:10.788" v="1503" actId="478"/>
            <ac:picMkLst>
              <pc:docMk/>
              <pc:sldMasterMk cId="489246797" sldId="2147483648"/>
              <pc:sldLayoutMk cId="3007318907" sldId="2147483659"/>
              <ac:picMk id="9" creationId="{43CB5BB3-045C-7CB5-60E7-476BA61BB4DC}"/>
            </ac:picMkLst>
          </pc:picChg>
          <pc:picChg chg="add del mod">
            <ac:chgData name="Lonneke Opsteegh" userId="ec2a11b1-c5a7-4109-83b7-7550d0e8e4d6" providerId="ADAL" clId="{F16F0611-EF83-4248-AE98-4DF2AC4DA88B}" dt="2023-02-14T15:04:09.138" v="1500" actId="478"/>
            <ac:picMkLst>
              <pc:docMk/>
              <pc:sldMasterMk cId="489246797" sldId="2147483648"/>
              <pc:sldLayoutMk cId="3007318907" sldId="2147483659"/>
              <ac:picMk id="17" creationId="{80C07849-2352-C8A7-88C1-C2A0BCD28708}"/>
            </ac:picMkLst>
          </pc:picChg>
          <pc:picChg chg="add del mod">
            <ac:chgData name="Lonneke Opsteegh" userId="ec2a11b1-c5a7-4109-83b7-7550d0e8e4d6" providerId="ADAL" clId="{F16F0611-EF83-4248-AE98-4DF2AC4DA88B}" dt="2023-02-14T15:04:11.315" v="1504" actId="478"/>
            <ac:picMkLst>
              <pc:docMk/>
              <pc:sldMasterMk cId="489246797" sldId="2147483648"/>
              <pc:sldLayoutMk cId="3007318907" sldId="2147483659"/>
              <ac:picMk id="18" creationId="{0B817E6C-EDFD-8DA6-78A9-250D62143EEF}"/>
            </ac:picMkLst>
          </pc:picChg>
          <pc:picChg chg="add del mod">
            <ac:chgData name="Lonneke Opsteegh" userId="ec2a11b1-c5a7-4109-83b7-7550d0e8e4d6" providerId="ADAL" clId="{F16F0611-EF83-4248-AE98-4DF2AC4DA88B}" dt="2023-02-14T15:04:10.250" v="1502" actId="478"/>
            <ac:picMkLst>
              <pc:docMk/>
              <pc:sldMasterMk cId="489246797" sldId="2147483648"/>
              <pc:sldLayoutMk cId="3007318907" sldId="2147483659"/>
              <ac:picMk id="19" creationId="{D015EFD5-AC09-72CC-37FA-90D10AA490CD}"/>
            </ac:picMkLst>
          </pc:picChg>
          <pc:picChg chg="mod">
            <ac:chgData name="Lonneke Opsteegh" userId="ec2a11b1-c5a7-4109-83b7-7550d0e8e4d6" providerId="ADAL" clId="{F16F0611-EF83-4248-AE98-4DF2AC4DA88B}" dt="2023-02-12T19:28:43.664" v="806" actId="1076"/>
            <ac:picMkLst>
              <pc:docMk/>
              <pc:sldMasterMk cId="489246797" sldId="2147483648"/>
              <pc:sldLayoutMk cId="3007318907" sldId="2147483659"/>
              <ac:picMk id="22" creationId="{A991A522-CD99-8DC1-E31E-46215F489352}"/>
            </ac:picMkLst>
          </pc:picChg>
          <pc:picChg chg="mod">
            <ac:chgData name="Lonneke Opsteegh" userId="ec2a11b1-c5a7-4109-83b7-7550d0e8e4d6" providerId="ADAL" clId="{F16F0611-EF83-4248-AE98-4DF2AC4DA88B}" dt="2023-02-12T19:25:57.272" v="779"/>
            <ac:picMkLst>
              <pc:docMk/>
              <pc:sldMasterMk cId="489246797" sldId="2147483648"/>
              <pc:sldLayoutMk cId="3007318907" sldId="2147483659"/>
              <ac:picMk id="23" creationId="{98942F2F-8821-6352-E611-9A7749239A13}"/>
            </ac:picMkLst>
          </pc:picChg>
          <pc:picChg chg="mod">
            <ac:chgData name="Lonneke Opsteegh" userId="ec2a11b1-c5a7-4109-83b7-7550d0e8e4d6" providerId="ADAL" clId="{F16F0611-EF83-4248-AE98-4DF2AC4DA88B}" dt="2023-02-12T19:25:57.272" v="779"/>
            <ac:picMkLst>
              <pc:docMk/>
              <pc:sldMasterMk cId="489246797" sldId="2147483648"/>
              <pc:sldLayoutMk cId="3007318907" sldId="2147483659"/>
              <ac:picMk id="24" creationId="{EFE068D6-ACC4-23B6-FC5F-37ADC0F5746C}"/>
            </ac:picMkLst>
          </pc:picChg>
          <pc:picChg chg="mod">
            <ac:chgData name="Lonneke Opsteegh" userId="ec2a11b1-c5a7-4109-83b7-7550d0e8e4d6" providerId="ADAL" clId="{F16F0611-EF83-4248-AE98-4DF2AC4DA88B}" dt="2023-02-12T19:28:43.664" v="806" actId="1076"/>
            <ac:picMkLst>
              <pc:docMk/>
              <pc:sldMasterMk cId="489246797" sldId="2147483648"/>
              <pc:sldLayoutMk cId="3007318907" sldId="2147483659"/>
              <ac:picMk id="25" creationId="{631E7553-EBF3-E6BB-02CB-699F5CC7ADEE}"/>
            </ac:picMkLst>
          </pc:picChg>
          <pc:picChg chg="mod">
            <ac:chgData name="Lonneke Opsteegh" userId="ec2a11b1-c5a7-4109-83b7-7550d0e8e4d6" providerId="ADAL" clId="{F16F0611-EF83-4248-AE98-4DF2AC4DA88B}" dt="2023-02-12T19:25:57.272" v="779"/>
            <ac:picMkLst>
              <pc:docMk/>
              <pc:sldMasterMk cId="489246797" sldId="2147483648"/>
              <pc:sldLayoutMk cId="3007318907" sldId="2147483659"/>
              <ac:picMk id="26" creationId="{49D1AEBA-4E89-7253-2108-66267031EC4F}"/>
            </ac:picMkLst>
          </pc:picChg>
          <pc:picChg chg="mod">
            <ac:chgData name="Lonneke Opsteegh" userId="ec2a11b1-c5a7-4109-83b7-7550d0e8e4d6" providerId="ADAL" clId="{F16F0611-EF83-4248-AE98-4DF2AC4DA88B}" dt="2023-02-12T19:25:57.272" v="779"/>
            <ac:picMkLst>
              <pc:docMk/>
              <pc:sldMasterMk cId="489246797" sldId="2147483648"/>
              <pc:sldLayoutMk cId="3007318907" sldId="2147483659"/>
              <ac:picMk id="27" creationId="{20063712-B865-8333-15B9-85C507FA6595}"/>
            </ac:picMkLst>
          </pc:picChg>
          <pc:picChg chg="mod">
            <ac:chgData name="Lonneke Opsteegh" userId="ec2a11b1-c5a7-4109-83b7-7550d0e8e4d6" providerId="ADAL" clId="{F16F0611-EF83-4248-AE98-4DF2AC4DA88B}" dt="2023-02-12T19:28:39.397" v="805" actId="1076"/>
            <ac:picMkLst>
              <pc:docMk/>
              <pc:sldMasterMk cId="489246797" sldId="2147483648"/>
              <pc:sldLayoutMk cId="3007318907" sldId="2147483659"/>
              <ac:picMk id="28" creationId="{4998F4E0-BA85-FABE-D70A-50624F3DDDEF}"/>
            </ac:picMkLst>
          </pc:picChg>
          <pc:picChg chg="mod">
            <ac:chgData name="Lonneke Opsteegh" userId="ec2a11b1-c5a7-4109-83b7-7550d0e8e4d6" providerId="ADAL" clId="{F16F0611-EF83-4248-AE98-4DF2AC4DA88B}" dt="2023-02-12T19:25:57.272" v="779"/>
            <ac:picMkLst>
              <pc:docMk/>
              <pc:sldMasterMk cId="489246797" sldId="2147483648"/>
              <pc:sldLayoutMk cId="3007318907" sldId="2147483659"/>
              <ac:picMk id="29" creationId="{471A06B5-08FF-A9D6-663D-631896D1829A}"/>
            </ac:picMkLst>
          </pc:picChg>
        </pc:sldLayoutChg>
        <pc:sldLayoutChg chg="addSp delSp modSp mod">
          <pc:chgData name="Lonneke Opsteegh" userId="ec2a11b1-c5a7-4109-83b7-7550d0e8e4d6" providerId="ADAL" clId="{F16F0611-EF83-4248-AE98-4DF2AC4DA88B}" dt="2023-02-14T15:06:45.001" v="1545" actId="14100"/>
          <pc:sldLayoutMkLst>
            <pc:docMk/>
            <pc:sldMasterMk cId="489246797" sldId="2147483648"/>
            <pc:sldLayoutMk cId="757479901" sldId="2147483660"/>
          </pc:sldLayoutMkLst>
          <pc:spChg chg="mod">
            <ac:chgData name="Lonneke Opsteegh" userId="ec2a11b1-c5a7-4109-83b7-7550d0e8e4d6" providerId="ADAL" clId="{F16F0611-EF83-4248-AE98-4DF2AC4DA88B}" dt="2023-02-14T15:06:45.001" v="1545" actId="14100"/>
            <ac:spMkLst>
              <pc:docMk/>
              <pc:sldMasterMk cId="489246797" sldId="2147483648"/>
              <pc:sldLayoutMk cId="757479901" sldId="2147483660"/>
              <ac:spMk id="2" creationId="{2999FD0F-1002-DAF1-F11B-8447D2288D95}"/>
            </ac:spMkLst>
          </pc:spChg>
          <pc:spChg chg="mod">
            <ac:chgData name="Lonneke Opsteegh" userId="ec2a11b1-c5a7-4109-83b7-7550d0e8e4d6" providerId="ADAL" clId="{F16F0611-EF83-4248-AE98-4DF2AC4DA88B}" dt="2023-02-14T15:06:45.001" v="1545" actId="14100"/>
            <ac:spMkLst>
              <pc:docMk/>
              <pc:sldMasterMk cId="489246797" sldId="2147483648"/>
              <pc:sldLayoutMk cId="757479901" sldId="2147483660"/>
              <ac:spMk id="3" creationId="{A802B085-83E8-0262-A1F6-E3868EF64F01}"/>
            </ac:spMkLst>
          </pc:spChg>
          <pc:spChg chg="add del mod ord">
            <ac:chgData name="Lonneke Opsteegh" userId="ec2a11b1-c5a7-4109-83b7-7550d0e8e4d6" providerId="ADAL" clId="{F16F0611-EF83-4248-AE98-4DF2AC4DA88B}" dt="2023-02-14T15:04:16.946" v="1512" actId="478"/>
            <ac:spMkLst>
              <pc:docMk/>
              <pc:sldMasterMk cId="489246797" sldId="2147483648"/>
              <pc:sldLayoutMk cId="757479901" sldId="2147483660"/>
              <ac:spMk id="8" creationId="{EA899F0A-1441-C2BB-EBBD-C7582AB14528}"/>
            </ac:spMkLst>
          </pc:spChg>
          <pc:spChg chg="mod">
            <ac:chgData name="Lonneke Opsteegh" userId="ec2a11b1-c5a7-4109-83b7-7550d0e8e4d6" providerId="ADAL" clId="{F16F0611-EF83-4248-AE98-4DF2AC4DA88B}" dt="2023-02-12T19:29:23.565" v="810" actId="207"/>
            <ac:spMkLst>
              <pc:docMk/>
              <pc:sldMasterMk cId="489246797" sldId="2147483648"/>
              <pc:sldLayoutMk cId="757479901" sldId="2147483660"/>
              <ac:spMk id="21" creationId="{2DC0FD52-1AF4-6063-6FE4-C5EC440C9273}"/>
            </ac:spMkLst>
          </pc:spChg>
          <pc:grpChg chg="add del mod">
            <ac:chgData name="Lonneke Opsteegh" userId="ec2a11b1-c5a7-4109-83b7-7550d0e8e4d6" providerId="ADAL" clId="{F16F0611-EF83-4248-AE98-4DF2AC4DA88B}" dt="2023-02-14T15:04:13.367" v="1506" actId="478"/>
            <ac:grpSpMkLst>
              <pc:docMk/>
              <pc:sldMasterMk cId="489246797" sldId="2147483648"/>
              <pc:sldLayoutMk cId="757479901" sldId="2147483660"/>
              <ac:grpSpMk id="20" creationId="{324A42B6-674A-0A4E-8BF2-C18A6DC72B85}"/>
            </ac:grpSpMkLst>
          </pc:grpChg>
          <pc:picChg chg="add del mod">
            <ac:chgData name="Lonneke Opsteegh" userId="ec2a11b1-c5a7-4109-83b7-7550d0e8e4d6" providerId="ADAL" clId="{F16F0611-EF83-4248-AE98-4DF2AC4DA88B}" dt="2023-02-14T15:04:15.709" v="1509" actId="478"/>
            <ac:picMkLst>
              <pc:docMk/>
              <pc:sldMasterMk cId="489246797" sldId="2147483648"/>
              <pc:sldLayoutMk cId="757479901" sldId="2147483660"/>
              <ac:picMk id="9" creationId="{39B9E343-C4A0-733F-0F7A-2F6670C98F52}"/>
            </ac:picMkLst>
          </pc:picChg>
          <pc:picChg chg="add del mod">
            <ac:chgData name="Lonneke Opsteegh" userId="ec2a11b1-c5a7-4109-83b7-7550d0e8e4d6" providerId="ADAL" clId="{F16F0611-EF83-4248-AE98-4DF2AC4DA88B}" dt="2023-02-14T15:04:14.650" v="1507" actId="478"/>
            <ac:picMkLst>
              <pc:docMk/>
              <pc:sldMasterMk cId="489246797" sldId="2147483648"/>
              <pc:sldLayoutMk cId="757479901" sldId="2147483660"/>
              <ac:picMk id="17" creationId="{04E35855-FF91-7A26-C2FB-00047BADA025}"/>
            </ac:picMkLst>
          </pc:picChg>
          <pc:picChg chg="add del mod">
            <ac:chgData name="Lonneke Opsteegh" userId="ec2a11b1-c5a7-4109-83b7-7550d0e8e4d6" providerId="ADAL" clId="{F16F0611-EF83-4248-AE98-4DF2AC4DA88B}" dt="2023-02-14T15:04:16.449" v="1510" actId="478"/>
            <ac:picMkLst>
              <pc:docMk/>
              <pc:sldMasterMk cId="489246797" sldId="2147483648"/>
              <pc:sldLayoutMk cId="757479901" sldId="2147483660"/>
              <ac:picMk id="18" creationId="{47BD8CB5-79FF-387C-3DEA-2A35868A3EE8}"/>
            </ac:picMkLst>
          </pc:picChg>
          <pc:picChg chg="add del mod">
            <ac:chgData name="Lonneke Opsteegh" userId="ec2a11b1-c5a7-4109-83b7-7550d0e8e4d6" providerId="ADAL" clId="{F16F0611-EF83-4248-AE98-4DF2AC4DA88B}" dt="2023-02-14T15:04:15.127" v="1508" actId="478"/>
            <ac:picMkLst>
              <pc:docMk/>
              <pc:sldMasterMk cId="489246797" sldId="2147483648"/>
              <pc:sldLayoutMk cId="757479901" sldId="2147483660"/>
              <ac:picMk id="19" creationId="{B730AAE4-5868-8AF1-8A5E-916605796685}"/>
            </ac:picMkLst>
          </pc:picChg>
          <pc:picChg chg="mod">
            <ac:chgData name="Lonneke Opsteegh" userId="ec2a11b1-c5a7-4109-83b7-7550d0e8e4d6" providerId="ADAL" clId="{F16F0611-EF83-4248-AE98-4DF2AC4DA88B}" dt="2023-02-12T19:25:58.520" v="780"/>
            <ac:picMkLst>
              <pc:docMk/>
              <pc:sldMasterMk cId="489246797" sldId="2147483648"/>
              <pc:sldLayoutMk cId="757479901" sldId="2147483660"/>
              <ac:picMk id="22" creationId="{DD3F4386-568F-BC48-8C0D-109CF10BE845}"/>
            </ac:picMkLst>
          </pc:picChg>
          <pc:picChg chg="mod">
            <ac:chgData name="Lonneke Opsteegh" userId="ec2a11b1-c5a7-4109-83b7-7550d0e8e4d6" providerId="ADAL" clId="{F16F0611-EF83-4248-AE98-4DF2AC4DA88B}" dt="2023-02-12T19:25:58.520" v="780"/>
            <ac:picMkLst>
              <pc:docMk/>
              <pc:sldMasterMk cId="489246797" sldId="2147483648"/>
              <pc:sldLayoutMk cId="757479901" sldId="2147483660"/>
              <ac:picMk id="23" creationId="{4B5CE3D2-AB42-062F-C874-479A001EDC84}"/>
            </ac:picMkLst>
          </pc:picChg>
          <pc:picChg chg="mod">
            <ac:chgData name="Lonneke Opsteegh" userId="ec2a11b1-c5a7-4109-83b7-7550d0e8e4d6" providerId="ADAL" clId="{F16F0611-EF83-4248-AE98-4DF2AC4DA88B}" dt="2023-02-12T19:25:58.520" v="780"/>
            <ac:picMkLst>
              <pc:docMk/>
              <pc:sldMasterMk cId="489246797" sldId="2147483648"/>
              <pc:sldLayoutMk cId="757479901" sldId="2147483660"/>
              <ac:picMk id="24" creationId="{EE8BAF88-3C3A-7C1B-C553-D4F1A6D2BD2A}"/>
            </ac:picMkLst>
          </pc:picChg>
          <pc:picChg chg="mod">
            <ac:chgData name="Lonneke Opsteegh" userId="ec2a11b1-c5a7-4109-83b7-7550d0e8e4d6" providerId="ADAL" clId="{F16F0611-EF83-4248-AE98-4DF2AC4DA88B}" dt="2023-02-12T19:25:58.520" v="780"/>
            <ac:picMkLst>
              <pc:docMk/>
              <pc:sldMasterMk cId="489246797" sldId="2147483648"/>
              <pc:sldLayoutMk cId="757479901" sldId="2147483660"/>
              <ac:picMk id="25" creationId="{512BF587-7136-21A3-74E8-63FC960FDE4F}"/>
            </ac:picMkLst>
          </pc:picChg>
          <pc:picChg chg="mod">
            <ac:chgData name="Lonneke Opsteegh" userId="ec2a11b1-c5a7-4109-83b7-7550d0e8e4d6" providerId="ADAL" clId="{F16F0611-EF83-4248-AE98-4DF2AC4DA88B}" dt="2023-02-12T19:25:58.520" v="780"/>
            <ac:picMkLst>
              <pc:docMk/>
              <pc:sldMasterMk cId="489246797" sldId="2147483648"/>
              <pc:sldLayoutMk cId="757479901" sldId="2147483660"/>
              <ac:picMk id="26" creationId="{8939483D-DC7F-5633-360B-FE986BA59EFE}"/>
            </ac:picMkLst>
          </pc:picChg>
          <pc:picChg chg="mod">
            <ac:chgData name="Lonneke Opsteegh" userId="ec2a11b1-c5a7-4109-83b7-7550d0e8e4d6" providerId="ADAL" clId="{F16F0611-EF83-4248-AE98-4DF2AC4DA88B}" dt="2023-02-12T19:25:58.520" v="780"/>
            <ac:picMkLst>
              <pc:docMk/>
              <pc:sldMasterMk cId="489246797" sldId="2147483648"/>
              <pc:sldLayoutMk cId="757479901" sldId="2147483660"/>
              <ac:picMk id="27" creationId="{2BB28AC3-141C-B058-64B7-4327B839B48E}"/>
            </ac:picMkLst>
          </pc:picChg>
          <pc:picChg chg="mod">
            <ac:chgData name="Lonneke Opsteegh" userId="ec2a11b1-c5a7-4109-83b7-7550d0e8e4d6" providerId="ADAL" clId="{F16F0611-EF83-4248-AE98-4DF2AC4DA88B}" dt="2023-02-12T19:25:58.520" v="780"/>
            <ac:picMkLst>
              <pc:docMk/>
              <pc:sldMasterMk cId="489246797" sldId="2147483648"/>
              <pc:sldLayoutMk cId="757479901" sldId="2147483660"/>
              <ac:picMk id="28" creationId="{70FFAD99-94BC-BD83-D2C0-F1277DDAF5A4}"/>
            </ac:picMkLst>
          </pc:picChg>
          <pc:picChg chg="mod">
            <ac:chgData name="Lonneke Opsteegh" userId="ec2a11b1-c5a7-4109-83b7-7550d0e8e4d6" providerId="ADAL" clId="{F16F0611-EF83-4248-AE98-4DF2AC4DA88B}" dt="2023-02-12T19:25:58.520" v="780"/>
            <ac:picMkLst>
              <pc:docMk/>
              <pc:sldMasterMk cId="489246797" sldId="2147483648"/>
              <pc:sldLayoutMk cId="757479901" sldId="2147483660"/>
              <ac:picMk id="29" creationId="{A8346E02-71F3-6E75-81BA-97D836DEDFAB}"/>
            </ac:picMkLst>
          </pc:picChg>
        </pc:sldLayoutChg>
        <pc:sldLayoutChg chg="addSp delSp modSp mod">
          <pc:chgData name="Lonneke Opsteegh" userId="ec2a11b1-c5a7-4109-83b7-7550d0e8e4d6" providerId="ADAL" clId="{F16F0611-EF83-4248-AE98-4DF2AC4DA88B}" dt="2023-02-14T15:06:55.893" v="1546" actId="14100"/>
          <pc:sldLayoutMkLst>
            <pc:docMk/>
            <pc:sldMasterMk cId="489246797" sldId="2147483648"/>
            <pc:sldLayoutMk cId="3577707495" sldId="2147483661"/>
          </pc:sldLayoutMkLst>
          <pc:spChg chg="mod">
            <ac:chgData name="Lonneke Opsteegh" userId="ec2a11b1-c5a7-4109-83b7-7550d0e8e4d6" providerId="ADAL" clId="{F16F0611-EF83-4248-AE98-4DF2AC4DA88B}" dt="2023-02-14T15:06:55.893" v="1546" actId="14100"/>
            <ac:spMkLst>
              <pc:docMk/>
              <pc:sldMasterMk cId="489246797" sldId="2147483648"/>
              <pc:sldLayoutMk cId="3577707495" sldId="2147483661"/>
              <ac:spMk id="2" creationId="{2999FD0F-1002-DAF1-F11B-8447D2288D95}"/>
            </ac:spMkLst>
          </pc:spChg>
          <pc:spChg chg="mod">
            <ac:chgData name="Lonneke Opsteegh" userId="ec2a11b1-c5a7-4109-83b7-7550d0e8e4d6" providerId="ADAL" clId="{F16F0611-EF83-4248-AE98-4DF2AC4DA88B}" dt="2023-02-14T15:06:55.893" v="1546" actId="14100"/>
            <ac:spMkLst>
              <pc:docMk/>
              <pc:sldMasterMk cId="489246797" sldId="2147483648"/>
              <pc:sldLayoutMk cId="3577707495" sldId="2147483661"/>
              <ac:spMk id="3" creationId="{A802B085-83E8-0262-A1F6-E3868EF64F01}"/>
            </ac:spMkLst>
          </pc:spChg>
          <pc:spChg chg="add del mod ord">
            <ac:chgData name="Lonneke Opsteegh" userId="ec2a11b1-c5a7-4109-83b7-7550d0e8e4d6" providerId="ADAL" clId="{F16F0611-EF83-4248-AE98-4DF2AC4DA88B}" dt="2023-02-14T15:04:19.710" v="1514" actId="478"/>
            <ac:spMkLst>
              <pc:docMk/>
              <pc:sldMasterMk cId="489246797" sldId="2147483648"/>
              <pc:sldLayoutMk cId="3577707495" sldId="2147483661"/>
              <ac:spMk id="8" creationId="{1891CC4F-50E8-BEA5-4C57-DE199E8E18E9}"/>
            </ac:spMkLst>
          </pc:spChg>
          <pc:spChg chg="mod">
            <ac:chgData name="Lonneke Opsteegh" userId="ec2a11b1-c5a7-4109-83b7-7550d0e8e4d6" providerId="ADAL" clId="{F16F0611-EF83-4248-AE98-4DF2AC4DA88B}" dt="2023-02-12T19:29:55.834" v="814" actId="207"/>
            <ac:spMkLst>
              <pc:docMk/>
              <pc:sldMasterMk cId="489246797" sldId="2147483648"/>
              <pc:sldLayoutMk cId="3577707495" sldId="2147483661"/>
              <ac:spMk id="21" creationId="{5461EAFC-F9FE-DCAC-137A-7CECCBBA70DA}"/>
            </ac:spMkLst>
          </pc:spChg>
          <pc:grpChg chg="add del mod">
            <ac:chgData name="Lonneke Opsteegh" userId="ec2a11b1-c5a7-4109-83b7-7550d0e8e4d6" providerId="ADAL" clId="{F16F0611-EF83-4248-AE98-4DF2AC4DA88B}" dt="2023-02-14T15:04:21.848" v="1521" actId="478"/>
            <ac:grpSpMkLst>
              <pc:docMk/>
              <pc:sldMasterMk cId="489246797" sldId="2147483648"/>
              <pc:sldLayoutMk cId="3577707495" sldId="2147483661"/>
              <ac:grpSpMk id="20" creationId="{41DCCFBF-CD90-BF6D-8327-A571B3E11687}"/>
            </ac:grpSpMkLst>
          </pc:grpChg>
          <pc:picChg chg="add del mod">
            <ac:chgData name="Lonneke Opsteegh" userId="ec2a11b1-c5a7-4109-83b7-7550d0e8e4d6" providerId="ADAL" clId="{F16F0611-EF83-4248-AE98-4DF2AC4DA88B}" dt="2023-02-14T15:04:20.218" v="1516" actId="478"/>
            <ac:picMkLst>
              <pc:docMk/>
              <pc:sldMasterMk cId="489246797" sldId="2147483648"/>
              <pc:sldLayoutMk cId="3577707495" sldId="2147483661"/>
              <ac:picMk id="9" creationId="{1DBCAAE9-152E-7972-B9F2-B8626BE6D75D}"/>
            </ac:picMkLst>
          </pc:picChg>
          <pc:picChg chg="add del mod">
            <ac:chgData name="Lonneke Opsteegh" userId="ec2a11b1-c5a7-4109-83b7-7550d0e8e4d6" providerId="ADAL" clId="{F16F0611-EF83-4248-AE98-4DF2AC4DA88B}" dt="2023-02-14T15:04:21.384" v="1520" actId="478"/>
            <ac:picMkLst>
              <pc:docMk/>
              <pc:sldMasterMk cId="489246797" sldId="2147483648"/>
              <pc:sldLayoutMk cId="3577707495" sldId="2147483661"/>
              <ac:picMk id="17" creationId="{905FF2B2-C1A0-E995-54BF-D4C89BBEE391}"/>
            </ac:picMkLst>
          </pc:picChg>
          <pc:picChg chg="add del mod">
            <ac:chgData name="Lonneke Opsteegh" userId="ec2a11b1-c5a7-4109-83b7-7550d0e8e4d6" providerId="ADAL" clId="{F16F0611-EF83-4248-AE98-4DF2AC4DA88B}" dt="2023-02-14T15:04:19.245" v="1513" actId="478"/>
            <ac:picMkLst>
              <pc:docMk/>
              <pc:sldMasterMk cId="489246797" sldId="2147483648"/>
              <pc:sldLayoutMk cId="3577707495" sldId="2147483661"/>
              <ac:picMk id="18" creationId="{FC929247-7405-3758-0119-4E407FA6A2C9}"/>
            </ac:picMkLst>
          </pc:picChg>
          <pc:picChg chg="add del mod">
            <ac:chgData name="Lonneke Opsteegh" userId="ec2a11b1-c5a7-4109-83b7-7550d0e8e4d6" providerId="ADAL" clId="{F16F0611-EF83-4248-AE98-4DF2AC4DA88B}" dt="2023-02-14T15:04:20.825" v="1518" actId="478"/>
            <ac:picMkLst>
              <pc:docMk/>
              <pc:sldMasterMk cId="489246797" sldId="2147483648"/>
              <pc:sldLayoutMk cId="3577707495" sldId="2147483661"/>
              <ac:picMk id="19" creationId="{F4304628-5C92-C308-06A7-5E29070742B4}"/>
            </ac:picMkLst>
          </pc:picChg>
          <pc:picChg chg="mod">
            <ac:chgData name="Lonneke Opsteegh" userId="ec2a11b1-c5a7-4109-83b7-7550d0e8e4d6" providerId="ADAL" clId="{F16F0611-EF83-4248-AE98-4DF2AC4DA88B}" dt="2023-02-12T19:26:00.881" v="781"/>
            <ac:picMkLst>
              <pc:docMk/>
              <pc:sldMasterMk cId="489246797" sldId="2147483648"/>
              <pc:sldLayoutMk cId="3577707495" sldId="2147483661"/>
              <ac:picMk id="22" creationId="{67947559-C058-EA04-15F5-23F68BE57E72}"/>
            </ac:picMkLst>
          </pc:picChg>
          <pc:picChg chg="mod">
            <ac:chgData name="Lonneke Opsteegh" userId="ec2a11b1-c5a7-4109-83b7-7550d0e8e4d6" providerId="ADAL" clId="{F16F0611-EF83-4248-AE98-4DF2AC4DA88B}" dt="2023-02-12T19:26:00.881" v="781"/>
            <ac:picMkLst>
              <pc:docMk/>
              <pc:sldMasterMk cId="489246797" sldId="2147483648"/>
              <pc:sldLayoutMk cId="3577707495" sldId="2147483661"/>
              <ac:picMk id="23" creationId="{AA7BD7EE-5EBA-4E49-3DBB-09E8F5DCCE4E}"/>
            </ac:picMkLst>
          </pc:picChg>
          <pc:picChg chg="mod">
            <ac:chgData name="Lonneke Opsteegh" userId="ec2a11b1-c5a7-4109-83b7-7550d0e8e4d6" providerId="ADAL" clId="{F16F0611-EF83-4248-AE98-4DF2AC4DA88B}" dt="2023-02-12T19:26:00.881" v="781"/>
            <ac:picMkLst>
              <pc:docMk/>
              <pc:sldMasterMk cId="489246797" sldId="2147483648"/>
              <pc:sldLayoutMk cId="3577707495" sldId="2147483661"/>
              <ac:picMk id="24" creationId="{DE2524AB-FDC4-F77A-B575-59C3CA6FA90E}"/>
            </ac:picMkLst>
          </pc:picChg>
          <pc:picChg chg="mod">
            <ac:chgData name="Lonneke Opsteegh" userId="ec2a11b1-c5a7-4109-83b7-7550d0e8e4d6" providerId="ADAL" clId="{F16F0611-EF83-4248-AE98-4DF2AC4DA88B}" dt="2023-02-12T19:26:00.881" v="781"/>
            <ac:picMkLst>
              <pc:docMk/>
              <pc:sldMasterMk cId="489246797" sldId="2147483648"/>
              <pc:sldLayoutMk cId="3577707495" sldId="2147483661"/>
              <ac:picMk id="25" creationId="{813B460B-AA75-9AFD-E642-4658D4ED0934}"/>
            </ac:picMkLst>
          </pc:picChg>
          <pc:picChg chg="mod">
            <ac:chgData name="Lonneke Opsteegh" userId="ec2a11b1-c5a7-4109-83b7-7550d0e8e4d6" providerId="ADAL" clId="{F16F0611-EF83-4248-AE98-4DF2AC4DA88B}" dt="2023-02-12T19:26:00.881" v="781"/>
            <ac:picMkLst>
              <pc:docMk/>
              <pc:sldMasterMk cId="489246797" sldId="2147483648"/>
              <pc:sldLayoutMk cId="3577707495" sldId="2147483661"/>
              <ac:picMk id="26" creationId="{4CEBF199-E061-65FC-398E-2F79731DE196}"/>
            </ac:picMkLst>
          </pc:picChg>
          <pc:picChg chg="mod">
            <ac:chgData name="Lonneke Opsteegh" userId="ec2a11b1-c5a7-4109-83b7-7550d0e8e4d6" providerId="ADAL" clId="{F16F0611-EF83-4248-AE98-4DF2AC4DA88B}" dt="2023-02-12T19:26:00.881" v="781"/>
            <ac:picMkLst>
              <pc:docMk/>
              <pc:sldMasterMk cId="489246797" sldId="2147483648"/>
              <pc:sldLayoutMk cId="3577707495" sldId="2147483661"/>
              <ac:picMk id="27" creationId="{817020BD-5799-BB6C-4E12-C639C98A9046}"/>
            </ac:picMkLst>
          </pc:picChg>
          <pc:picChg chg="mod">
            <ac:chgData name="Lonneke Opsteegh" userId="ec2a11b1-c5a7-4109-83b7-7550d0e8e4d6" providerId="ADAL" clId="{F16F0611-EF83-4248-AE98-4DF2AC4DA88B}" dt="2023-02-12T19:26:00.881" v="781"/>
            <ac:picMkLst>
              <pc:docMk/>
              <pc:sldMasterMk cId="489246797" sldId="2147483648"/>
              <pc:sldLayoutMk cId="3577707495" sldId="2147483661"/>
              <ac:picMk id="28" creationId="{8729901E-46BA-827C-1E73-E7A569FC694A}"/>
            </ac:picMkLst>
          </pc:picChg>
          <pc:picChg chg="mod">
            <ac:chgData name="Lonneke Opsteegh" userId="ec2a11b1-c5a7-4109-83b7-7550d0e8e4d6" providerId="ADAL" clId="{F16F0611-EF83-4248-AE98-4DF2AC4DA88B}" dt="2023-02-12T19:26:00.881" v="781"/>
            <ac:picMkLst>
              <pc:docMk/>
              <pc:sldMasterMk cId="489246797" sldId="2147483648"/>
              <pc:sldLayoutMk cId="3577707495" sldId="2147483661"/>
              <ac:picMk id="29" creationId="{84E01A7F-6DB8-2DD9-66DE-F9AEB1684D2C}"/>
            </ac:picMkLst>
          </pc:picChg>
        </pc:sldLayoutChg>
      </pc:sldMasterChg>
    </pc:docChg>
  </pc:docChgLst>
  <pc:docChgLst>
    <pc:chgData name="Guest User" userId="S::urn:spo:anon#d6aa5d302ca57d1c4d5e2b0812f7fc53f0e9aef6a7fc90fd628ea351c5a1638b::" providerId="AD" clId="Web-{510EFF28-4231-4117-AD53-EFB9B8B5EA71}"/>
    <pc:docChg chg="modSld">
      <pc:chgData name="Guest User" userId="S::urn:spo:anon#d6aa5d302ca57d1c4d5e2b0812f7fc53f0e9aef6a7fc90fd628ea351c5a1638b::" providerId="AD" clId="Web-{510EFF28-4231-4117-AD53-EFB9B8B5EA71}" dt="2023-02-14T18:44:26.048" v="3" actId="1076"/>
      <pc:docMkLst>
        <pc:docMk/>
      </pc:docMkLst>
      <pc:sldChg chg="addSp delSp modSp">
        <pc:chgData name="Guest User" userId="S::urn:spo:anon#d6aa5d302ca57d1c4d5e2b0812f7fc53f0e9aef6a7fc90fd628ea351c5a1638b::" providerId="AD" clId="Web-{510EFF28-4231-4117-AD53-EFB9B8B5EA71}" dt="2023-02-14T18:44:26.048" v="3" actId="1076"/>
        <pc:sldMkLst>
          <pc:docMk/>
          <pc:sldMk cId="1295083531" sldId="272"/>
        </pc:sldMkLst>
        <pc:grpChg chg="del">
          <ac:chgData name="Guest User" userId="S::urn:spo:anon#d6aa5d302ca57d1c4d5e2b0812f7fc53f0e9aef6a7fc90fd628ea351c5a1638b::" providerId="AD" clId="Web-{510EFF28-4231-4117-AD53-EFB9B8B5EA71}" dt="2023-02-14T18:44:13.641" v="2"/>
          <ac:grpSpMkLst>
            <pc:docMk/>
            <pc:sldMk cId="1295083531" sldId="272"/>
            <ac:grpSpMk id="49" creationId="{635BDFFB-634F-DD51-6CAB-61109C5DC2C9}"/>
          </ac:grpSpMkLst>
        </pc:grpChg>
        <pc:picChg chg="add mod">
          <ac:chgData name="Guest User" userId="S::urn:spo:anon#d6aa5d302ca57d1c4d5e2b0812f7fc53f0e9aef6a7fc90fd628ea351c5a1638b::" providerId="AD" clId="Web-{510EFF28-4231-4117-AD53-EFB9B8B5EA71}" dt="2023-02-14T18:44:26.048" v="3" actId="1076"/>
          <ac:picMkLst>
            <pc:docMk/>
            <pc:sldMk cId="1295083531" sldId="272"/>
            <ac:picMk id="2" creationId="{2212CDC1-1447-088F-2773-38204767A71A}"/>
          </ac:picMkLst>
        </pc:picChg>
      </pc:sldChg>
    </pc:docChg>
  </pc:docChgLst>
  <pc:docChgLst>
    <pc:chgData name="Strzyminski, Grzegorz" userId="0c1cb62d-c60a-4e4f-b918-a4b6f306529d" providerId="ADAL" clId="{851932D5-6311-41D2-86BD-382E555B8B3D}"/>
    <pc:docChg chg="undo custSel addSld delSld modSld sldOrd modMainMaster modSection replTag">
      <pc:chgData name="Strzyminski, Grzegorz" userId="0c1cb62d-c60a-4e4f-b918-a4b6f306529d" providerId="ADAL" clId="{851932D5-6311-41D2-86BD-382E555B8B3D}" dt="2024-03-07T23:26:03.653" v="1435" actId="27636"/>
      <pc:docMkLst>
        <pc:docMk/>
      </pc:docMkLst>
      <pc:sldChg chg="del">
        <pc:chgData name="Strzyminski, Grzegorz" userId="0c1cb62d-c60a-4e4f-b918-a4b6f306529d" providerId="ADAL" clId="{851932D5-6311-41D2-86BD-382E555B8B3D}" dt="2024-03-04T14:25:08.023" v="0" actId="47"/>
        <pc:sldMkLst>
          <pc:docMk/>
          <pc:sldMk cId="1325477011" sldId="259"/>
        </pc:sldMkLst>
      </pc:sldChg>
      <pc:sldChg chg="del">
        <pc:chgData name="Strzyminski, Grzegorz" userId="0c1cb62d-c60a-4e4f-b918-a4b6f306529d" providerId="ADAL" clId="{851932D5-6311-41D2-86BD-382E555B8B3D}" dt="2024-03-04T14:25:08.023" v="0" actId="47"/>
        <pc:sldMkLst>
          <pc:docMk/>
          <pc:sldMk cId="4187456339" sldId="260"/>
        </pc:sldMkLst>
      </pc:sldChg>
      <pc:sldChg chg="del">
        <pc:chgData name="Strzyminski, Grzegorz" userId="0c1cb62d-c60a-4e4f-b918-a4b6f306529d" providerId="ADAL" clId="{851932D5-6311-41D2-86BD-382E555B8B3D}" dt="2024-03-04T14:25:08.023" v="0" actId="47"/>
        <pc:sldMkLst>
          <pc:docMk/>
          <pc:sldMk cId="4049822668" sldId="261"/>
        </pc:sldMkLst>
      </pc:sldChg>
      <pc:sldChg chg="addSp delSp modSp mod">
        <pc:chgData name="Strzyminski, Grzegorz" userId="0c1cb62d-c60a-4e4f-b918-a4b6f306529d" providerId="ADAL" clId="{851932D5-6311-41D2-86BD-382E555B8B3D}" dt="2024-03-04T14:25:45.033" v="225"/>
        <pc:sldMkLst>
          <pc:docMk/>
          <pc:sldMk cId="791576755" sldId="263"/>
        </pc:sldMkLst>
        <pc:spChg chg="mod">
          <ac:chgData name="Strzyminski, Grzegorz" userId="0c1cb62d-c60a-4e4f-b918-a4b6f306529d" providerId="ADAL" clId="{851932D5-6311-41D2-86BD-382E555B8B3D}" dt="2024-03-04T14:25:45.010" v="200" actId="948"/>
          <ac:spMkLst>
            <pc:docMk/>
            <pc:sldMk cId="791576755" sldId="263"/>
            <ac:spMk id="2" creationId="{27087007-5F2C-A7B2-FEF1-DFE6D76528D1}"/>
          </ac:spMkLst>
        </pc:spChg>
        <pc:spChg chg="mod">
          <ac:chgData name="Strzyminski, Grzegorz" userId="0c1cb62d-c60a-4e4f-b918-a4b6f306529d" providerId="ADAL" clId="{851932D5-6311-41D2-86BD-382E555B8B3D}" dt="2024-03-04T14:25:26.450" v="32" actId="20577"/>
          <ac:spMkLst>
            <pc:docMk/>
            <pc:sldMk cId="791576755" sldId="263"/>
            <ac:spMk id="3" creationId="{B687B94E-33A6-3943-016E-D0856839D2C8}"/>
          </ac:spMkLst>
        </pc:spChg>
        <pc:spChg chg="add del mod modVis">
          <ac:chgData name="Strzyminski, Grzegorz" userId="0c1cb62d-c60a-4e4f-b918-a4b6f306529d" providerId="ADAL" clId="{851932D5-6311-41D2-86BD-382E555B8B3D}" dt="2024-03-04T14:25:36.467" v="109"/>
          <ac:spMkLst>
            <pc:docMk/>
            <pc:sldMk cId="791576755" sldId="263"/>
            <ac:spMk id="4" creationId="{D65C4EA5-BCB3-31F4-B15E-243B76FE8488}"/>
          </ac:spMkLst>
        </pc:spChg>
        <pc:spChg chg="add del mod modVis">
          <ac:chgData name="Strzyminski, Grzegorz" userId="0c1cb62d-c60a-4e4f-b918-a4b6f306529d" providerId="ADAL" clId="{851932D5-6311-41D2-86BD-382E555B8B3D}" dt="2024-03-04T14:25:39.603" v="169"/>
          <ac:spMkLst>
            <pc:docMk/>
            <pc:sldMk cId="791576755" sldId="263"/>
            <ac:spMk id="6" creationId="{976F9E31-1CEF-7265-5B75-619A1F9E2F27}"/>
          </ac:spMkLst>
        </pc:spChg>
        <pc:spChg chg="add del mod modVis">
          <ac:chgData name="Strzyminski, Grzegorz" userId="0c1cb62d-c60a-4e4f-b918-a4b6f306529d" providerId="ADAL" clId="{851932D5-6311-41D2-86BD-382E555B8B3D}" dt="2024-03-04T14:25:45.030" v="223"/>
          <ac:spMkLst>
            <pc:docMk/>
            <pc:sldMk cId="791576755" sldId="263"/>
            <ac:spMk id="7" creationId="{A9F68FDE-352C-4401-D85C-4B82902902AD}"/>
          </ac:spMkLst>
        </pc:spChg>
        <pc:graphicFrameChg chg="add mod ord modVis replST">
          <ac:chgData name="Strzyminski, Grzegorz" userId="0c1cb62d-c60a-4e4f-b918-a4b6f306529d" providerId="ADAL" clId="{851932D5-6311-41D2-86BD-382E555B8B3D}" dt="2024-03-04T14:25:45.033" v="225"/>
          <ac:graphicFrameMkLst>
            <pc:docMk/>
            <pc:sldMk cId="791576755" sldId="263"/>
            <ac:graphicFrameMk id="5" creationId="{A80EFA2C-BDC4-E596-AF8C-F4FABED73AB3}"/>
          </ac:graphicFrameMkLst>
        </pc:graphicFrameChg>
      </pc:sldChg>
      <pc:sldChg chg="del">
        <pc:chgData name="Strzyminski, Grzegorz" userId="0c1cb62d-c60a-4e4f-b918-a4b6f306529d" providerId="ADAL" clId="{851932D5-6311-41D2-86BD-382E555B8B3D}" dt="2024-03-04T14:25:08.023" v="0" actId="47"/>
        <pc:sldMkLst>
          <pc:docMk/>
          <pc:sldMk cId="2174704069" sldId="264"/>
        </pc:sldMkLst>
      </pc:sldChg>
      <pc:sldChg chg="del">
        <pc:chgData name="Strzyminski, Grzegorz" userId="0c1cb62d-c60a-4e4f-b918-a4b6f306529d" providerId="ADAL" clId="{851932D5-6311-41D2-86BD-382E555B8B3D}" dt="2024-03-04T14:25:14.151" v="1" actId="47"/>
        <pc:sldMkLst>
          <pc:docMk/>
          <pc:sldMk cId="3288331060" sldId="265"/>
        </pc:sldMkLst>
      </pc:sldChg>
      <pc:sldChg chg="addSp delSp modSp mod">
        <pc:chgData name="Strzyminski, Grzegorz" userId="0c1cb62d-c60a-4e4f-b918-a4b6f306529d" providerId="ADAL" clId="{851932D5-6311-41D2-86BD-382E555B8B3D}" dt="2024-03-04T14:28:52.958" v="756" actId="404"/>
        <pc:sldMkLst>
          <pc:docMk/>
          <pc:sldMk cId="3644016809" sldId="269"/>
        </pc:sldMkLst>
        <pc:spChg chg="add del mod modVis">
          <ac:chgData name="Strzyminski, Grzegorz" userId="0c1cb62d-c60a-4e4f-b918-a4b6f306529d" providerId="ADAL" clId="{851932D5-6311-41D2-86BD-382E555B8B3D}" dt="2024-03-04T14:26:13.933" v="256"/>
          <ac:spMkLst>
            <pc:docMk/>
            <pc:sldMk cId="3644016809" sldId="269"/>
            <ac:spMk id="2" creationId="{906C4034-206F-BF92-8127-A186D2BA48A7}"/>
          </ac:spMkLst>
        </pc:spChg>
        <pc:spChg chg="mod">
          <ac:chgData name="Strzyminski, Grzegorz" userId="0c1cb62d-c60a-4e4f-b918-a4b6f306529d" providerId="ADAL" clId="{851932D5-6311-41D2-86BD-382E555B8B3D}" dt="2024-03-04T14:27:47.118" v="695" actId="948"/>
          <ac:spMkLst>
            <pc:docMk/>
            <pc:sldMk cId="3644016809" sldId="269"/>
            <ac:spMk id="4" creationId="{A0121CE1-AE8A-C285-EB49-0DF4545AADEB}"/>
          </ac:spMkLst>
        </pc:spChg>
        <pc:spChg chg="mod">
          <ac:chgData name="Strzyminski, Grzegorz" userId="0c1cb62d-c60a-4e4f-b918-a4b6f306529d" providerId="ADAL" clId="{851932D5-6311-41D2-86BD-382E555B8B3D}" dt="2024-03-04T14:28:52.958" v="756" actId="404"/>
          <ac:spMkLst>
            <pc:docMk/>
            <pc:sldMk cId="3644016809" sldId="269"/>
            <ac:spMk id="5" creationId="{16F62582-09FB-82DE-EE84-0E928DE92042}"/>
          </ac:spMkLst>
        </pc:spChg>
        <pc:spChg chg="add del mod modVis">
          <ac:chgData name="Strzyminski, Grzegorz" userId="0c1cb62d-c60a-4e4f-b918-a4b6f306529d" providerId="ADAL" clId="{851932D5-6311-41D2-86BD-382E555B8B3D}" dt="2024-03-04T14:26:23.042" v="311"/>
          <ac:spMkLst>
            <pc:docMk/>
            <pc:sldMk cId="3644016809" sldId="269"/>
            <ac:spMk id="6" creationId="{F7B26D2B-DA50-1C3B-7AE6-FD02DDAE7C44}"/>
          </ac:spMkLst>
        </pc:spChg>
        <pc:spChg chg="add del mod modVis">
          <ac:chgData name="Strzyminski, Grzegorz" userId="0c1cb62d-c60a-4e4f-b918-a4b6f306529d" providerId="ADAL" clId="{851932D5-6311-41D2-86BD-382E555B8B3D}" dt="2024-03-04T14:26:23.593" v="338"/>
          <ac:spMkLst>
            <pc:docMk/>
            <pc:sldMk cId="3644016809" sldId="269"/>
            <ac:spMk id="7" creationId="{4C2F41DB-9F2E-8A3D-74DE-608F0BCA539E}"/>
          </ac:spMkLst>
        </pc:spChg>
        <pc:spChg chg="add del mod modVis">
          <ac:chgData name="Strzyminski, Grzegorz" userId="0c1cb62d-c60a-4e4f-b918-a4b6f306529d" providerId="ADAL" clId="{851932D5-6311-41D2-86BD-382E555B8B3D}" dt="2024-03-04T14:26:24.893" v="365"/>
          <ac:spMkLst>
            <pc:docMk/>
            <pc:sldMk cId="3644016809" sldId="269"/>
            <ac:spMk id="8" creationId="{94100754-B717-83CC-04AF-DD7B542B5E76}"/>
          </ac:spMkLst>
        </pc:spChg>
        <pc:spChg chg="add del mod modVis">
          <ac:chgData name="Strzyminski, Grzegorz" userId="0c1cb62d-c60a-4e4f-b918-a4b6f306529d" providerId="ADAL" clId="{851932D5-6311-41D2-86BD-382E555B8B3D}" dt="2024-03-04T14:26:25.595" v="392"/>
          <ac:spMkLst>
            <pc:docMk/>
            <pc:sldMk cId="3644016809" sldId="269"/>
            <ac:spMk id="9" creationId="{CEF8E734-1906-32BB-1CF3-DB5B9E726AA5}"/>
          </ac:spMkLst>
        </pc:spChg>
        <pc:spChg chg="add del mod modVis">
          <ac:chgData name="Strzyminski, Grzegorz" userId="0c1cb62d-c60a-4e4f-b918-a4b6f306529d" providerId="ADAL" clId="{851932D5-6311-41D2-86BD-382E555B8B3D}" dt="2024-03-04T14:26:27.771" v="430"/>
          <ac:spMkLst>
            <pc:docMk/>
            <pc:sldMk cId="3644016809" sldId="269"/>
            <ac:spMk id="10" creationId="{B65FB381-6DFC-A226-D5A3-A855F5F18973}"/>
          </ac:spMkLst>
        </pc:spChg>
        <pc:spChg chg="add del mod modVis">
          <ac:chgData name="Strzyminski, Grzegorz" userId="0c1cb62d-c60a-4e4f-b918-a4b6f306529d" providerId="ADAL" clId="{851932D5-6311-41D2-86BD-382E555B8B3D}" dt="2024-03-04T14:26:29.302" v="459"/>
          <ac:spMkLst>
            <pc:docMk/>
            <pc:sldMk cId="3644016809" sldId="269"/>
            <ac:spMk id="11" creationId="{2E51FC2D-8FCB-0C44-1139-2CC8B3CE1BBC}"/>
          </ac:spMkLst>
        </pc:spChg>
        <pc:spChg chg="add del mod modVis">
          <ac:chgData name="Strzyminski, Grzegorz" userId="0c1cb62d-c60a-4e4f-b918-a4b6f306529d" providerId="ADAL" clId="{851932D5-6311-41D2-86BD-382E555B8B3D}" dt="2024-03-04T14:26:29.857" v="486"/>
          <ac:spMkLst>
            <pc:docMk/>
            <pc:sldMk cId="3644016809" sldId="269"/>
            <ac:spMk id="12" creationId="{F014A57D-23B7-6C0B-F1DF-EA75F4BD2E59}"/>
          </ac:spMkLst>
        </pc:spChg>
        <pc:spChg chg="add del mod modVis">
          <ac:chgData name="Strzyminski, Grzegorz" userId="0c1cb62d-c60a-4e4f-b918-a4b6f306529d" providerId="ADAL" clId="{851932D5-6311-41D2-86BD-382E555B8B3D}" dt="2024-03-04T14:26:31.324" v="516"/>
          <ac:spMkLst>
            <pc:docMk/>
            <pc:sldMk cId="3644016809" sldId="269"/>
            <ac:spMk id="13" creationId="{D79D5914-5413-D096-1D27-517CAFD97939}"/>
          </ac:spMkLst>
        </pc:spChg>
        <pc:spChg chg="add del mod modVis">
          <ac:chgData name="Strzyminski, Grzegorz" userId="0c1cb62d-c60a-4e4f-b918-a4b6f306529d" providerId="ADAL" clId="{851932D5-6311-41D2-86BD-382E555B8B3D}" dt="2024-03-04T14:27:00.499" v="554"/>
          <ac:spMkLst>
            <pc:docMk/>
            <pc:sldMk cId="3644016809" sldId="269"/>
            <ac:spMk id="15" creationId="{FED816D8-85D8-1DB8-CA22-672D0EC138BF}"/>
          </ac:spMkLst>
        </pc:spChg>
        <pc:spChg chg="add del mod modVis">
          <ac:chgData name="Strzyminski, Grzegorz" userId="0c1cb62d-c60a-4e4f-b918-a4b6f306529d" providerId="ADAL" clId="{851932D5-6311-41D2-86BD-382E555B8B3D}" dt="2024-03-04T14:27:12.235" v="584"/>
          <ac:spMkLst>
            <pc:docMk/>
            <pc:sldMk cId="3644016809" sldId="269"/>
            <ac:spMk id="16" creationId="{565407AE-8F29-A825-E656-F6CB7CD1A605}"/>
          </ac:spMkLst>
        </pc:spChg>
        <pc:spChg chg="add del mod modVis">
          <ac:chgData name="Strzyminski, Grzegorz" userId="0c1cb62d-c60a-4e4f-b918-a4b6f306529d" providerId="ADAL" clId="{851932D5-6311-41D2-86BD-382E555B8B3D}" dt="2024-03-04T14:27:30.716" v="671" actId="962"/>
          <ac:spMkLst>
            <pc:docMk/>
            <pc:sldMk cId="3644016809" sldId="269"/>
            <ac:spMk id="17" creationId="{10834FEA-7502-EE42-DF19-A3F0FE8ABBDC}"/>
          </ac:spMkLst>
        </pc:spChg>
        <pc:spChg chg="add del mod modVis">
          <ac:chgData name="Strzyminski, Grzegorz" userId="0c1cb62d-c60a-4e4f-b918-a4b6f306529d" providerId="ADAL" clId="{851932D5-6311-41D2-86BD-382E555B8B3D}" dt="2024-03-04T14:27:47.136" v="718"/>
          <ac:spMkLst>
            <pc:docMk/>
            <pc:sldMk cId="3644016809" sldId="269"/>
            <ac:spMk id="18" creationId="{A83D39A6-66E2-D393-6FC5-38BF9B5C3351}"/>
          </ac:spMkLst>
        </pc:spChg>
        <pc:graphicFrameChg chg="add mod ord modVis replST">
          <ac:chgData name="Strzyminski, Grzegorz" userId="0c1cb62d-c60a-4e4f-b918-a4b6f306529d" providerId="ADAL" clId="{851932D5-6311-41D2-86BD-382E555B8B3D}" dt="2024-03-04T14:27:47.138" v="720"/>
          <ac:graphicFrameMkLst>
            <pc:docMk/>
            <pc:sldMk cId="3644016809" sldId="269"/>
            <ac:graphicFrameMk id="3" creationId="{F42338B2-C5B8-0084-3704-CA9EA764A279}"/>
          </ac:graphicFrameMkLst>
        </pc:graphicFrameChg>
        <pc:picChg chg="add mod">
          <ac:chgData name="Strzyminski, Grzegorz" userId="0c1cb62d-c60a-4e4f-b918-a4b6f306529d" providerId="ADAL" clId="{851932D5-6311-41D2-86BD-382E555B8B3D}" dt="2024-03-04T14:27:46.601" v="694" actId="1036"/>
          <ac:picMkLst>
            <pc:docMk/>
            <pc:sldMk cId="3644016809" sldId="269"/>
            <ac:picMk id="14" creationId="{B6008CF2-9F4B-6DD2-C072-372795FFE7BC}"/>
          </ac:picMkLst>
        </pc:picChg>
      </pc:sldChg>
      <pc:sldChg chg="ord">
        <pc:chgData name="Strzyminski, Grzegorz" userId="0c1cb62d-c60a-4e4f-b918-a4b6f306529d" providerId="ADAL" clId="{851932D5-6311-41D2-86BD-382E555B8B3D}" dt="2024-03-07T21:06:17.709" v="1416"/>
        <pc:sldMkLst>
          <pc:docMk/>
          <pc:sldMk cId="4164166654" sldId="271"/>
        </pc:sldMkLst>
      </pc:sldChg>
      <pc:sldChg chg="addSp modSp add mod">
        <pc:chgData name="Strzyminski, Grzegorz" userId="0c1cb62d-c60a-4e4f-b918-a4b6f306529d" providerId="ADAL" clId="{851932D5-6311-41D2-86BD-382E555B8B3D}" dt="2024-03-04T14:29:02.521" v="759" actId="403"/>
        <pc:sldMkLst>
          <pc:docMk/>
          <pc:sldMk cId="3192561730" sldId="272"/>
        </pc:sldMkLst>
        <pc:spChg chg="mod">
          <ac:chgData name="Strzyminski, Grzegorz" userId="0c1cb62d-c60a-4e4f-b918-a4b6f306529d" providerId="ADAL" clId="{851932D5-6311-41D2-86BD-382E555B8B3D}" dt="2024-03-04T14:28:08.378" v="728" actId="948"/>
          <ac:spMkLst>
            <pc:docMk/>
            <pc:sldMk cId="3192561730" sldId="272"/>
            <ac:spMk id="4" creationId="{A0121CE1-AE8A-C285-EB49-0DF4545AADEB}"/>
          </ac:spMkLst>
        </pc:spChg>
        <pc:spChg chg="mod">
          <ac:chgData name="Strzyminski, Grzegorz" userId="0c1cb62d-c60a-4e4f-b918-a4b6f306529d" providerId="ADAL" clId="{851932D5-6311-41D2-86BD-382E555B8B3D}" dt="2024-03-04T14:29:02.521" v="759" actId="403"/>
          <ac:spMkLst>
            <pc:docMk/>
            <pc:sldMk cId="3192561730" sldId="272"/>
            <ac:spMk id="5" creationId="{16F62582-09FB-82DE-EE84-0E928DE92042}"/>
          </ac:spMkLst>
        </pc:spChg>
        <pc:graphicFrameChg chg="add mod ord modVis replST">
          <ac:chgData name="Strzyminski, Grzegorz" userId="0c1cb62d-c60a-4e4f-b918-a4b6f306529d" providerId="ADAL" clId="{851932D5-6311-41D2-86BD-382E555B8B3D}" dt="2024-03-04T14:28:08.404" v="745"/>
          <ac:graphicFrameMkLst>
            <pc:docMk/>
            <pc:sldMk cId="3192561730" sldId="272"/>
            <ac:graphicFrameMk id="2" creationId="{A8366385-0601-F4EC-9AA0-FA38F6488ADD}"/>
          </ac:graphicFrameMkLst>
        </pc:graphicFrameChg>
      </pc:sldChg>
      <pc:sldChg chg="addSp delSp modSp add mod">
        <pc:chgData name="Strzyminski, Grzegorz" userId="0c1cb62d-c60a-4e4f-b918-a4b6f306529d" providerId="ADAL" clId="{851932D5-6311-41D2-86BD-382E555B8B3D}" dt="2024-03-04T14:30:03.200" v="861" actId="1076"/>
        <pc:sldMkLst>
          <pc:docMk/>
          <pc:sldMk cId="2182706232" sldId="273"/>
        </pc:sldMkLst>
        <pc:spChg chg="add del mod modVis">
          <ac:chgData name="Strzyminski, Grzegorz" userId="0c1cb62d-c60a-4e4f-b918-a4b6f306529d" providerId="ADAL" clId="{851932D5-6311-41D2-86BD-382E555B8B3D}" dt="2024-03-04T14:29:29.590" v="809"/>
          <ac:spMkLst>
            <pc:docMk/>
            <pc:sldMk cId="2182706232" sldId="273"/>
            <ac:spMk id="2" creationId="{E8DC279A-E178-531B-A3B9-2C9A23698576}"/>
          </ac:spMkLst>
        </pc:spChg>
        <pc:spChg chg="mod">
          <ac:chgData name="Strzyminski, Grzegorz" userId="0c1cb62d-c60a-4e4f-b918-a4b6f306529d" providerId="ADAL" clId="{851932D5-6311-41D2-86BD-382E555B8B3D}" dt="2024-03-04T14:29:30.162" v="826" actId="948"/>
          <ac:spMkLst>
            <pc:docMk/>
            <pc:sldMk cId="2182706232" sldId="273"/>
            <ac:spMk id="4" creationId="{A0121CE1-AE8A-C285-EB49-0DF4545AADEB}"/>
          </ac:spMkLst>
        </pc:spChg>
        <pc:spChg chg="del mod">
          <ac:chgData name="Strzyminski, Grzegorz" userId="0c1cb62d-c60a-4e4f-b918-a4b6f306529d" providerId="ADAL" clId="{851932D5-6311-41D2-86BD-382E555B8B3D}" dt="2024-03-04T14:29:34.945" v="852" actId="478"/>
          <ac:spMkLst>
            <pc:docMk/>
            <pc:sldMk cId="2182706232" sldId="273"/>
            <ac:spMk id="5" creationId="{16F62582-09FB-82DE-EE84-0E928DE92042}"/>
          </ac:spMkLst>
        </pc:spChg>
        <pc:spChg chg="add del mod modVis">
          <ac:chgData name="Strzyminski, Grzegorz" userId="0c1cb62d-c60a-4e4f-b918-a4b6f306529d" providerId="ADAL" clId="{851932D5-6311-41D2-86BD-382E555B8B3D}" dt="2024-03-04T14:29:30.182" v="849"/>
          <ac:spMkLst>
            <pc:docMk/>
            <pc:sldMk cId="2182706232" sldId="273"/>
            <ac:spMk id="6" creationId="{4F94E6A4-E17B-EE24-862E-589A33720603}"/>
          </ac:spMkLst>
        </pc:spChg>
        <pc:spChg chg="add del mod">
          <ac:chgData name="Strzyminski, Grzegorz" userId="0c1cb62d-c60a-4e4f-b918-a4b6f306529d" providerId="ADAL" clId="{851932D5-6311-41D2-86BD-382E555B8B3D}" dt="2024-03-04T14:29:36.822" v="853" actId="478"/>
          <ac:spMkLst>
            <pc:docMk/>
            <pc:sldMk cId="2182706232" sldId="273"/>
            <ac:spMk id="8" creationId="{8421F3CA-C8E4-8035-B7AF-EB6D52229011}"/>
          </ac:spMkLst>
        </pc:spChg>
        <pc:spChg chg="add mod">
          <ac:chgData name="Strzyminski, Grzegorz" userId="0c1cb62d-c60a-4e4f-b918-a4b6f306529d" providerId="ADAL" clId="{851932D5-6311-41D2-86BD-382E555B8B3D}" dt="2024-03-04T14:29:53.756" v="859" actId="403"/>
          <ac:spMkLst>
            <pc:docMk/>
            <pc:sldMk cId="2182706232" sldId="273"/>
            <ac:spMk id="9" creationId="{BDDFF876-BEAE-DC85-70A6-367509BA298E}"/>
          </ac:spMkLst>
        </pc:spChg>
        <pc:spChg chg="add mod">
          <ac:chgData name="Strzyminski, Grzegorz" userId="0c1cb62d-c60a-4e4f-b918-a4b6f306529d" providerId="ADAL" clId="{851932D5-6311-41D2-86BD-382E555B8B3D}" dt="2024-03-04T14:30:03.200" v="861" actId="1076"/>
          <ac:spMkLst>
            <pc:docMk/>
            <pc:sldMk cId="2182706232" sldId="273"/>
            <ac:spMk id="10" creationId="{ACC22412-51FA-772C-73B4-762215568EF4}"/>
          </ac:spMkLst>
        </pc:spChg>
        <pc:graphicFrameChg chg="add mod ord modVis replST">
          <ac:chgData name="Strzyminski, Grzegorz" userId="0c1cb62d-c60a-4e4f-b918-a4b6f306529d" providerId="ADAL" clId="{851932D5-6311-41D2-86BD-382E555B8B3D}" dt="2024-03-04T14:29:30.184" v="851"/>
          <ac:graphicFrameMkLst>
            <pc:docMk/>
            <pc:sldMk cId="2182706232" sldId="273"/>
            <ac:graphicFrameMk id="3" creationId="{4CCD9B1F-0AE0-45B5-3D63-515BED506B23}"/>
          </ac:graphicFrameMkLst>
        </pc:graphicFrameChg>
        <pc:picChg chg="add mod">
          <ac:chgData name="Strzyminski, Grzegorz" userId="0c1cb62d-c60a-4e4f-b918-a4b6f306529d" providerId="ADAL" clId="{851932D5-6311-41D2-86BD-382E555B8B3D}" dt="2024-03-04T14:29:42.056" v="854"/>
          <ac:picMkLst>
            <pc:docMk/>
            <pc:sldMk cId="2182706232" sldId="273"/>
            <ac:picMk id="12" creationId="{EC6A187D-FB6A-E18C-5E86-D3D338CD7307}"/>
          </ac:picMkLst>
        </pc:picChg>
        <pc:picChg chg="add mod">
          <ac:chgData name="Strzyminski, Grzegorz" userId="0c1cb62d-c60a-4e4f-b918-a4b6f306529d" providerId="ADAL" clId="{851932D5-6311-41D2-86BD-382E555B8B3D}" dt="2024-03-04T14:29:42.056" v="854"/>
          <ac:picMkLst>
            <pc:docMk/>
            <pc:sldMk cId="2182706232" sldId="273"/>
            <ac:picMk id="13" creationId="{9CC20618-1E1A-F275-21B5-979BED3BB5BE}"/>
          </ac:picMkLst>
        </pc:picChg>
        <pc:cxnChg chg="add mod">
          <ac:chgData name="Strzyminski, Grzegorz" userId="0c1cb62d-c60a-4e4f-b918-a4b6f306529d" providerId="ADAL" clId="{851932D5-6311-41D2-86BD-382E555B8B3D}" dt="2024-03-04T14:29:42.056" v="854"/>
          <ac:cxnSpMkLst>
            <pc:docMk/>
            <pc:sldMk cId="2182706232" sldId="273"/>
            <ac:cxnSpMk id="11" creationId="{7F2F3F94-9E79-5965-19F1-74120EBE09DD}"/>
          </ac:cxnSpMkLst>
        </pc:cxnChg>
      </pc:sldChg>
      <pc:sldChg chg="addSp delSp modSp add mod">
        <pc:chgData name="Strzyminski, Grzegorz" userId="0c1cb62d-c60a-4e4f-b918-a4b6f306529d" providerId="ADAL" clId="{851932D5-6311-41D2-86BD-382E555B8B3D}" dt="2024-03-04T14:31:17.889" v="977" actId="403"/>
        <pc:sldMkLst>
          <pc:docMk/>
          <pc:sldMk cId="874075303" sldId="274"/>
        </pc:sldMkLst>
        <pc:spChg chg="add del mod modVis">
          <ac:chgData name="Strzyminski, Grzegorz" userId="0c1cb62d-c60a-4e4f-b918-a4b6f306529d" providerId="ADAL" clId="{851932D5-6311-41D2-86BD-382E555B8B3D}" dt="2024-03-04T14:30:20.770" v="891"/>
          <ac:spMkLst>
            <pc:docMk/>
            <pc:sldMk cId="874075303" sldId="274"/>
            <ac:spMk id="2" creationId="{F36E9FF3-CFE8-A27B-8D14-D32317661206}"/>
          </ac:spMkLst>
        </pc:spChg>
        <pc:spChg chg="mod">
          <ac:chgData name="Strzyminski, Grzegorz" userId="0c1cb62d-c60a-4e4f-b918-a4b6f306529d" providerId="ADAL" clId="{851932D5-6311-41D2-86BD-382E555B8B3D}" dt="2024-03-04T14:30:24.525" v="928" actId="948"/>
          <ac:spMkLst>
            <pc:docMk/>
            <pc:sldMk cId="874075303" sldId="274"/>
            <ac:spMk id="4" creationId="{A0121CE1-AE8A-C285-EB49-0DF4545AADEB}"/>
          </ac:spMkLst>
        </pc:spChg>
        <pc:spChg chg="mod">
          <ac:chgData name="Strzyminski, Grzegorz" userId="0c1cb62d-c60a-4e4f-b918-a4b6f306529d" providerId="ADAL" clId="{851932D5-6311-41D2-86BD-382E555B8B3D}" dt="2024-03-04T14:31:17.889" v="977" actId="403"/>
          <ac:spMkLst>
            <pc:docMk/>
            <pc:sldMk cId="874075303" sldId="274"/>
            <ac:spMk id="5" creationId="{16F62582-09FB-82DE-EE84-0E928DE92042}"/>
          </ac:spMkLst>
        </pc:spChg>
        <pc:spChg chg="add del mod modVis">
          <ac:chgData name="Strzyminski, Grzegorz" userId="0c1cb62d-c60a-4e4f-b918-a4b6f306529d" providerId="ADAL" clId="{851932D5-6311-41D2-86BD-382E555B8B3D}" dt="2024-03-04T14:30:24.542" v="951"/>
          <ac:spMkLst>
            <pc:docMk/>
            <pc:sldMk cId="874075303" sldId="274"/>
            <ac:spMk id="6" creationId="{8C065919-8AA5-B67F-EE62-FF1A49270C88}"/>
          </ac:spMkLst>
        </pc:spChg>
        <pc:graphicFrameChg chg="add mod ord modVis replST">
          <ac:chgData name="Strzyminski, Grzegorz" userId="0c1cb62d-c60a-4e4f-b918-a4b6f306529d" providerId="ADAL" clId="{851932D5-6311-41D2-86BD-382E555B8B3D}" dt="2024-03-04T14:30:24.544" v="953"/>
          <ac:graphicFrameMkLst>
            <pc:docMk/>
            <pc:sldMk cId="874075303" sldId="274"/>
            <ac:graphicFrameMk id="3" creationId="{4AA4518F-B2B0-8138-55D5-AFC0ECFED574}"/>
          </ac:graphicFrameMkLst>
        </pc:graphicFrameChg>
      </pc:sldChg>
      <pc:sldChg chg="addSp delSp modSp add mod">
        <pc:chgData name="Strzyminski, Grzegorz" userId="0c1cb62d-c60a-4e4f-b918-a4b6f306529d" providerId="ADAL" clId="{851932D5-6311-41D2-86BD-382E555B8B3D}" dt="2024-03-04T14:32:01.230" v="1066" actId="403"/>
        <pc:sldMkLst>
          <pc:docMk/>
          <pc:sldMk cId="820781858" sldId="275"/>
        </pc:sldMkLst>
        <pc:spChg chg="add del mod modVis">
          <ac:chgData name="Strzyminski, Grzegorz" userId="0c1cb62d-c60a-4e4f-b918-a4b6f306529d" providerId="ADAL" clId="{851932D5-6311-41D2-86BD-382E555B8B3D}" dt="2024-03-04T14:31:39.109" v="1015"/>
          <ac:spMkLst>
            <pc:docMk/>
            <pc:sldMk cId="820781858" sldId="275"/>
            <ac:spMk id="2" creationId="{3C11D985-D55F-219A-9C81-B895357E32B4}"/>
          </ac:spMkLst>
        </pc:spChg>
        <pc:spChg chg="mod">
          <ac:chgData name="Strzyminski, Grzegorz" userId="0c1cb62d-c60a-4e4f-b918-a4b6f306529d" providerId="ADAL" clId="{851932D5-6311-41D2-86BD-382E555B8B3D}" dt="2024-03-04T14:31:39.758" v="1033" actId="948"/>
          <ac:spMkLst>
            <pc:docMk/>
            <pc:sldMk cId="820781858" sldId="275"/>
            <ac:spMk id="4" creationId="{A0121CE1-AE8A-C285-EB49-0DF4545AADEB}"/>
          </ac:spMkLst>
        </pc:spChg>
        <pc:spChg chg="del">
          <ac:chgData name="Strzyminski, Grzegorz" userId="0c1cb62d-c60a-4e4f-b918-a4b6f306529d" providerId="ADAL" clId="{851932D5-6311-41D2-86BD-382E555B8B3D}" dt="2024-03-04T14:31:44.821" v="1059" actId="478"/>
          <ac:spMkLst>
            <pc:docMk/>
            <pc:sldMk cId="820781858" sldId="275"/>
            <ac:spMk id="5" creationId="{16F62582-09FB-82DE-EE84-0E928DE92042}"/>
          </ac:spMkLst>
        </pc:spChg>
        <pc:spChg chg="add del mod modVis">
          <ac:chgData name="Strzyminski, Grzegorz" userId="0c1cb62d-c60a-4e4f-b918-a4b6f306529d" providerId="ADAL" clId="{851932D5-6311-41D2-86BD-382E555B8B3D}" dt="2024-03-04T14:31:39.780" v="1056"/>
          <ac:spMkLst>
            <pc:docMk/>
            <pc:sldMk cId="820781858" sldId="275"/>
            <ac:spMk id="6" creationId="{8A9BB1D6-A6BE-8B07-B609-A87F89EEC836}"/>
          </ac:spMkLst>
        </pc:spChg>
        <pc:spChg chg="add del mod">
          <ac:chgData name="Strzyminski, Grzegorz" userId="0c1cb62d-c60a-4e4f-b918-a4b6f306529d" providerId="ADAL" clId="{851932D5-6311-41D2-86BD-382E555B8B3D}" dt="2024-03-04T14:31:46.304" v="1060" actId="478"/>
          <ac:spMkLst>
            <pc:docMk/>
            <pc:sldMk cId="820781858" sldId="275"/>
            <ac:spMk id="8" creationId="{C11EE3F4-EF84-9C3B-580E-2F3E2FA8F8F9}"/>
          </ac:spMkLst>
        </pc:spChg>
        <pc:spChg chg="add mod">
          <ac:chgData name="Strzyminski, Grzegorz" userId="0c1cb62d-c60a-4e4f-b918-a4b6f306529d" providerId="ADAL" clId="{851932D5-6311-41D2-86BD-382E555B8B3D}" dt="2024-03-04T14:31:57.956" v="1064" actId="403"/>
          <ac:spMkLst>
            <pc:docMk/>
            <pc:sldMk cId="820781858" sldId="275"/>
            <ac:spMk id="9" creationId="{EE114C3B-21D0-7FD4-D172-9FD39D8CE5CC}"/>
          </ac:spMkLst>
        </pc:spChg>
        <pc:spChg chg="add mod">
          <ac:chgData name="Strzyminski, Grzegorz" userId="0c1cb62d-c60a-4e4f-b918-a4b6f306529d" providerId="ADAL" clId="{851932D5-6311-41D2-86BD-382E555B8B3D}" dt="2024-03-04T14:32:01.230" v="1066" actId="403"/>
          <ac:spMkLst>
            <pc:docMk/>
            <pc:sldMk cId="820781858" sldId="275"/>
            <ac:spMk id="10" creationId="{6F3F466E-77E8-91E8-7BE2-B43A82DE8EA7}"/>
          </ac:spMkLst>
        </pc:spChg>
        <pc:graphicFrameChg chg="add mod ord modVis replST">
          <ac:chgData name="Strzyminski, Grzegorz" userId="0c1cb62d-c60a-4e4f-b918-a4b6f306529d" providerId="ADAL" clId="{851932D5-6311-41D2-86BD-382E555B8B3D}" dt="2024-03-04T14:31:39.783" v="1058"/>
          <ac:graphicFrameMkLst>
            <pc:docMk/>
            <pc:sldMk cId="820781858" sldId="275"/>
            <ac:graphicFrameMk id="3" creationId="{EB43E5BD-7D98-3282-0DB8-0B2C80078610}"/>
          </ac:graphicFrameMkLst>
        </pc:graphicFrameChg>
        <pc:picChg chg="add mod">
          <ac:chgData name="Strzyminski, Grzegorz" userId="0c1cb62d-c60a-4e4f-b918-a4b6f306529d" providerId="ADAL" clId="{851932D5-6311-41D2-86BD-382E555B8B3D}" dt="2024-03-04T14:31:47.110" v="1061"/>
          <ac:picMkLst>
            <pc:docMk/>
            <pc:sldMk cId="820781858" sldId="275"/>
            <ac:picMk id="12" creationId="{C53E74A8-389A-D34F-B740-DE488E9C6106}"/>
          </ac:picMkLst>
        </pc:picChg>
        <pc:picChg chg="add mod">
          <ac:chgData name="Strzyminski, Grzegorz" userId="0c1cb62d-c60a-4e4f-b918-a4b6f306529d" providerId="ADAL" clId="{851932D5-6311-41D2-86BD-382E555B8B3D}" dt="2024-03-04T14:31:47.110" v="1061"/>
          <ac:picMkLst>
            <pc:docMk/>
            <pc:sldMk cId="820781858" sldId="275"/>
            <ac:picMk id="13" creationId="{7716D808-C606-3D67-DF17-3248CAB4185D}"/>
          </ac:picMkLst>
        </pc:picChg>
        <pc:cxnChg chg="add mod">
          <ac:chgData name="Strzyminski, Grzegorz" userId="0c1cb62d-c60a-4e4f-b918-a4b6f306529d" providerId="ADAL" clId="{851932D5-6311-41D2-86BD-382E555B8B3D}" dt="2024-03-04T14:31:47.110" v="1061"/>
          <ac:cxnSpMkLst>
            <pc:docMk/>
            <pc:sldMk cId="820781858" sldId="275"/>
            <ac:cxnSpMk id="11" creationId="{5E1063CA-FD30-2ADB-1875-3446FBE73A80}"/>
          </ac:cxnSpMkLst>
        </pc:cxnChg>
      </pc:sldChg>
      <pc:sldChg chg="addSp delSp modSp add mod">
        <pc:chgData name="Strzyminski, Grzegorz" userId="0c1cb62d-c60a-4e4f-b918-a4b6f306529d" providerId="ADAL" clId="{851932D5-6311-41D2-86BD-382E555B8B3D}" dt="2024-03-04T14:33:21.418" v="1149" actId="403"/>
        <pc:sldMkLst>
          <pc:docMk/>
          <pc:sldMk cId="3624863287" sldId="276"/>
        </pc:sldMkLst>
        <pc:spChg chg="add del mod modVis">
          <ac:chgData name="Strzyminski, Grzegorz" userId="0c1cb62d-c60a-4e4f-b918-a4b6f306529d" providerId="ADAL" clId="{851932D5-6311-41D2-86BD-382E555B8B3D}" dt="2024-03-04T14:32:22.104" v="1115"/>
          <ac:spMkLst>
            <pc:docMk/>
            <pc:sldMk cId="3624863287" sldId="276"/>
            <ac:spMk id="2" creationId="{B13FD269-FD1D-0244-0807-DACD9F5E7335}"/>
          </ac:spMkLst>
        </pc:spChg>
        <pc:spChg chg="mod">
          <ac:chgData name="Strzyminski, Grzegorz" userId="0c1cb62d-c60a-4e4f-b918-a4b6f306529d" providerId="ADAL" clId="{851932D5-6311-41D2-86BD-382E555B8B3D}" dt="2024-03-04T14:32:22.086" v="1092" actId="948"/>
          <ac:spMkLst>
            <pc:docMk/>
            <pc:sldMk cId="3624863287" sldId="276"/>
            <ac:spMk id="4" creationId="{A0121CE1-AE8A-C285-EB49-0DF4545AADEB}"/>
          </ac:spMkLst>
        </pc:spChg>
        <pc:spChg chg="mod">
          <ac:chgData name="Strzyminski, Grzegorz" userId="0c1cb62d-c60a-4e4f-b918-a4b6f306529d" providerId="ADAL" clId="{851932D5-6311-41D2-86BD-382E555B8B3D}" dt="2024-03-04T14:33:21.418" v="1149" actId="403"/>
          <ac:spMkLst>
            <pc:docMk/>
            <pc:sldMk cId="3624863287" sldId="276"/>
            <ac:spMk id="5" creationId="{16F62582-09FB-82DE-EE84-0E928DE92042}"/>
          </ac:spMkLst>
        </pc:spChg>
        <pc:graphicFrameChg chg="add mod ord modVis replST">
          <ac:chgData name="Strzyminski, Grzegorz" userId="0c1cb62d-c60a-4e4f-b918-a4b6f306529d" providerId="ADAL" clId="{851932D5-6311-41D2-86BD-382E555B8B3D}" dt="2024-03-04T14:32:22.127" v="1130"/>
          <ac:graphicFrameMkLst>
            <pc:docMk/>
            <pc:sldMk cId="3624863287" sldId="276"/>
            <ac:graphicFrameMk id="3" creationId="{83F8DAEB-5DFE-4D0D-A9E7-F9479A3176F6}"/>
          </ac:graphicFrameMkLst>
        </pc:graphicFrameChg>
      </pc:sldChg>
      <pc:sldChg chg="addSp delSp modSp add mod">
        <pc:chgData name="Strzyminski, Grzegorz" userId="0c1cb62d-c60a-4e4f-b918-a4b6f306529d" providerId="ADAL" clId="{851932D5-6311-41D2-86BD-382E555B8B3D}" dt="2024-03-04T14:33:54.593" v="1316" actId="5793"/>
        <pc:sldMkLst>
          <pc:docMk/>
          <pc:sldMk cId="2520100149" sldId="277"/>
        </pc:sldMkLst>
        <pc:spChg chg="add del mod modVis">
          <ac:chgData name="Strzyminski, Grzegorz" userId="0c1cb62d-c60a-4e4f-b918-a4b6f306529d" providerId="ADAL" clId="{851932D5-6311-41D2-86BD-382E555B8B3D}" dt="2024-03-04T14:33:36.698" v="1220" actId="962"/>
          <ac:spMkLst>
            <pc:docMk/>
            <pc:sldMk cId="2520100149" sldId="277"/>
            <ac:spMk id="2" creationId="{FE4A6450-6425-6467-172F-72007AB97112}"/>
          </ac:spMkLst>
        </pc:spChg>
        <pc:spChg chg="mod">
          <ac:chgData name="Strzyminski, Grzegorz" userId="0c1cb62d-c60a-4e4f-b918-a4b6f306529d" providerId="ADAL" clId="{851932D5-6311-41D2-86BD-382E555B8B3D}" dt="2024-03-04T14:33:43.209" v="1234" actId="948"/>
          <ac:spMkLst>
            <pc:docMk/>
            <pc:sldMk cId="2520100149" sldId="277"/>
            <ac:spMk id="4" creationId="{A0121CE1-AE8A-C285-EB49-0DF4545AADEB}"/>
          </ac:spMkLst>
        </pc:spChg>
        <pc:spChg chg="mod">
          <ac:chgData name="Strzyminski, Grzegorz" userId="0c1cb62d-c60a-4e4f-b918-a4b6f306529d" providerId="ADAL" clId="{851932D5-6311-41D2-86BD-382E555B8B3D}" dt="2024-03-04T14:33:54.593" v="1316" actId="5793"/>
          <ac:spMkLst>
            <pc:docMk/>
            <pc:sldMk cId="2520100149" sldId="277"/>
            <ac:spMk id="5" creationId="{16F62582-09FB-82DE-EE84-0E928DE92042}"/>
          </ac:spMkLst>
        </pc:spChg>
        <pc:spChg chg="add del mod modVis">
          <ac:chgData name="Strzyminski, Grzegorz" userId="0c1cb62d-c60a-4e4f-b918-a4b6f306529d" providerId="ADAL" clId="{851932D5-6311-41D2-86BD-382E555B8B3D}" dt="2024-03-04T14:33:43.226" v="1257"/>
          <ac:spMkLst>
            <pc:docMk/>
            <pc:sldMk cId="2520100149" sldId="277"/>
            <ac:spMk id="6" creationId="{32ECBEC1-8B48-B69E-65E3-0A26CC70B155}"/>
          </ac:spMkLst>
        </pc:spChg>
        <pc:graphicFrameChg chg="add mod ord modVis replST delST">
          <ac:chgData name="Strzyminski, Grzegorz" userId="0c1cb62d-c60a-4e4f-b918-a4b6f306529d" providerId="ADAL" clId="{851932D5-6311-41D2-86BD-382E555B8B3D}" dt="2024-03-04T14:33:36.690" v="1200" actId="14100"/>
          <ac:graphicFrameMkLst>
            <pc:docMk/>
            <pc:sldMk cId="2520100149" sldId="277"/>
            <ac:graphicFrameMk id="3" creationId="{6FA7609F-E671-5B39-931C-24DB186B0720}"/>
          </ac:graphicFrameMkLst>
        </pc:graphicFrameChg>
        <pc:graphicFrameChg chg="add mod ord modVis replST">
          <ac:chgData name="Strzyminski, Grzegorz" userId="0c1cb62d-c60a-4e4f-b918-a4b6f306529d" providerId="ADAL" clId="{851932D5-6311-41D2-86BD-382E555B8B3D}" dt="2024-03-04T14:33:43.249" v="1272"/>
          <ac:graphicFrameMkLst>
            <pc:docMk/>
            <pc:sldMk cId="2520100149" sldId="277"/>
            <ac:graphicFrameMk id="7" creationId="{BDA710BE-A89D-75E7-D857-26C63EF788AC}"/>
          </ac:graphicFrameMkLst>
        </pc:graphicFrameChg>
      </pc:sldChg>
      <pc:sldChg chg="addSp delSp modSp add mod">
        <pc:chgData name="Strzyminski, Grzegorz" userId="0c1cb62d-c60a-4e4f-b918-a4b6f306529d" providerId="ADAL" clId="{851932D5-6311-41D2-86BD-382E555B8B3D}" dt="2024-03-04T14:34:04.231" v="1339" actId="478"/>
        <pc:sldMkLst>
          <pc:docMk/>
          <pc:sldMk cId="2309030259" sldId="278"/>
        </pc:sldMkLst>
        <pc:spChg chg="mod">
          <ac:chgData name="Strzyminski, Grzegorz" userId="0c1cb62d-c60a-4e4f-b918-a4b6f306529d" providerId="ADAL" clId="{851932D5-6311-41D2-86BD-382E555B8B3D}" dt="2024-03-04T14:34:00.835" v="1320" actId="948"/>
          <ac:spMkLst>
            <pc:docMk/>
            <pc:sldMk cId="2309030259" sldId="278"/>
            <ac:spMk id="4" creationId="{A0121CE1-AE8A-C285-EB49-0DF4545AADEB}"/>
          </ac:spMkLst>
        </pc:spChg>
        <pc:spChg chg="del">
          <ac:chgData name="Strzyminski, Grzegorz" userId="0c1cb62d-c60a-4e4f-b918-a4b6f306529d" providerId="ADAL" clId="{851932D5-6311-41D2-86BD-382E555B8B3D}" dt="2024-03-04T14:34:02.749" v="1338" actId="478"/>
          <ac:spMkLst>
            <pc:docMk/>
            <pc:sldMk cId="2309030259" sldId="278"/>
            <ac:spMk id="5" creationId="{16F62582-09FB-82DE-EE84-0E928DE92042}"/>
          </ac:spMkLst>
        </pc:spChg>
        <pc:spChg chg="add del mod">
          <ac:chgData name="Strzyminski, Grzegorz" userId="0c1cb62d-c60a-4e4f-b918-a4b6f306529d" providerId="ADAL" clId="{851932D5-6311-41D2-86BD-382E555B8B3D}" dt="2024-03-04T14:34:04.231" v="1339" actId="478"/>
          <ac:spMkLst>
            <pc:docMk/>
            <pc:sldMk cId="2309030259" sldId="278"/>
            <ac:spMk id="6" creationId="{B8DA49BC-56DF-138A-9C58-ADF0DB81082D}"/>
          </ac:spMkLst>
        </pc:spChg>
        <pc:graphicFrameChg chg="add mod ord modVis replST">
          <ac:chgData name="Strzyminski, Grzegorz" userId="0c1cb62d-c60a-4e4f-b918-a4b6f306529d" providerId="ADAL" clId="{851932D5-6311-41D2-86BD-382E555B8B3D}" dt="2024-03-04T14:34:00.858" v="1337"/>
          <ac:graphicFrameMkLst>
            <pc:docMk/>
            <pc:sldMk cId="2309030259" sldId="278"/>
            <ac:graphicFrameMk id="2" creationId="{7178A0FA-A02D-E816-61CE-77FFE47D912F}"/>
          </ac:graphicFrameMkLst>
        </pc:graphicFrameChg>
      </pc:sldChg>
      <pc:sldChg chg="addSp delSp modSp add del mod">
        <pc:chgData name="Strzyminski, Grzegorz" userId="0c1cb62d-c60a-4e4f-b918-a4b6f306529d" providerId="ADAL" clId="{851932D5-6311-41D2-86BD-382E555B8B3D}" dt="2024-03-04T14:34:35.706" v="1343" actId="47"/>
        <pc:sldMkLst>
          <pc:docMk/>
          <pc:sldMk cId="618415994" sldId="279"/>
        </pc:sldMkLst>
        <pc:spChg chg="del">
          <ac:chgData name="Strzyminski, Grzegorz" userId="0c1cb62d-c60a-4e4f-b918-a4b6f306529d" providerId="ADAL" clId="{851932D5-6311-41D2-86BD-382E555B8B3D}" dt="2024-03-04T14:34:31.461" v="1342" actId="478"/>
          <ac:spMkLst>
            <pc:docMk/>
            <pc:sldMk cId="618415994" sldId="279"/>
            <ac:spMk id="5" creationId="{16F62582-09FB-82DE-EE84-0E928DE92042}"/>
          </ac:spMkLst>
        </pc:spChg>
        <pc:spChg chg="add mod">
          <ac:chgData name="Strzyminski, Grzegorz" userId="0c1cb62d-c60a-4e4f-b918-a4b6f306529d" providerId="ADAL" clId="{851932D5-6311-41D2-86BD-382E555B8B3D}" dt="2024-03-04T14:34:31.461" v="1342" actId="478"/>
          <ac:spMkLst>
            <pc:docMk/>
            <pc:sldMk cId="618415994" sldId="279"/>
            <ac:spMk id="6" creationId="{D0F2F3F2-1A1D-0D49-935C-84162971E161}"/>
          </ac:spMkLst>
        </pc:spChg>
        <pc:picChg chg="del">
          <ac:chgData name="Strzyminski, Grzegorz" userId="0c1cb62d-c60a-4e4f-b918-a4b6f306529d" providerId="ADAL" clId="{851932D5-6311-41D2-86BD-382E555B8B3D}" dt="2024-03-04T14:34:30.223" v="1341" actId="478"/>
          <ac:picMkLst>
            <pc:docMk/>
            <pc:sldMk cId="618415994" sldId="279"/>
            <ac:picMk id="14" creationId="{B6008CF2-9F4B-6DD2-C072-372795FFE7BC}"/>
          </ac:picMkLst>
        </pc:picChg>
      </pc:sldChg>
      <pc:sldChg chg="addSp delSp modSp add mod">
        <pc:chgData name="Strzyminski, Grzegorz" userId="0c1cb62d-c60a-4e4f-b918-a4b6f306529d" providerId="ADAL" clId="{851932D5-6311-41D2-86BD-382E555B8B3D}" dt="2024-03-04T14:35:08.829" v="1414" actId="1076"/>
        <pc:sldMkLst>
          <pc:docMk/>
          <pc:sldMk cId="626726050" sldId="279"/>
        </pc:sldMkLst>
        <pc:spChg chg="add del mod modVis">
          <ac:chgData name="Strzyminski, Grzegorz" userId="0c1cb62d-c60a-4e4f-b918-a4b6f306529d" providerId="ADAL" clId="{851932D5-6311-41D2-86BD-382E555B8B3D}" dt="2024-03-04T14:34:41.559" v="1377"/>
          <ac:spMkLst>
            <pc:docMk/>
            <pc:sldMk cId="626726050" sldId="279"/>
            <ac:spMk id="3" creationId="{47120C08-16A0-5065-1FDE-1CA025C35EC2}"/>
          </ac:spMkLst>
        </pc:spChg>
        <pc:spChg chg="mod">
          <ac:chgData name="Strzyminski, Grzegorz" userId="0c1cb62d-c60a-4e4f-b918-a4b6f306529d" providerId="ADAL" clId="{851932D5-6311-41D2-86BD-382E555B8B3D}" dt="2024-03-04T14:34:44.620" v="1381" actId="948"/>
          <ac:spMkLst>
            <pc:docMk/>
            <pc:sldMk cId="626726050" sldId="279"/>
            <ac:spMk id="4" creationId="{A0121CE1-AE8A-C285-EB49-0DF4545AADEB}"/>
          </ac:spMkLst>
        </pc:spChg>
        <pc:spChg chg="add del mod modVis">
          <ac:chgData name="Strzyminski, Grzegorz" userId="0c1cb62d-c60a-4e4f-b918-a4b6f306529d" providerId="ADAL" clId="{851932D5-6311-41D2-86BD-382E555B8B3D}" dt="2024-03-04T14:34:44.637" v="1404"/>
          <ac:spMkLst>
            <pc:docMk/>
            <pc:sldMk cId="626726050" sldId="279"/>
            <ac:spMk id="5" creationId="{FE084F93-293B-590A-ABEB-C5AC696E8A4F}"/>
          </ac:spMkLst>
        </pc:spChg>
        <pc:spChg chg="add mod">
          <ac:chgData name="Strzyminski, Grzegorz" userId="0c1cb62d-c60a-4e4f-b918-a4b6f306529d" providerId="ADAL" clId="{851932D5-6311-41D2-86BD-382E555B8B3D}" dt="2024-03-04T14:35:04.061" v="1412" actId="14100"/>
          <ac:spMkLst>
            <pc:docMk/>
            <pc:sldMk cId="626726050" sldId="279"/>
            <ac:spMk id="6" creationId="{9E02816A-6CFA-3A18-F194-E49C2D4D141C}"/>
          </ac:spMkLst>
        </pc:spChg>
        <pc:graphicFrameChg chg="mod">
          <ac:chgData name="Strzyminski, Grzegorz" userId="0c1cb62d-c60a-4e4f-b918-a4b6f306529d" providerId="ADAL" clId="{851932D5-6311-41D2-86BD-382E555B8B3D}" dt="2024-03-04T14:34:44.640" v="1406"/>
          <ac:graphicFrameMkLst>
            <pc:docMk/>
            <pc:sldMk cId="626726050" sldId="279"/>
            <ac:graphicFrameMk id="2" creationId="{7178A0FA-A02D-E816-61CE-77FFE47D912F}"/>
          </ac:graphicFrameMkLst>
        </pc:graphicFrameChg>
        <pc:picChg chg="add mod">
          <ac:chgData name="Strzyminski, Grzegorz" userId="0c1cb62d-c60a-4e4f-b918-a4b6f306529d" providerId="ADAL" clId="{851932D5-6311-41D2-86BD-382E555B8B3D}" dt="2024-03-04T14:35:08.829" v="1414" actId="1076"/>
          <ac:picMkLst>
            <pc:docMk/>
            <pc:sldMk cId="626726050" sldId="279"/>
            <ac:picMk id="7" creationId="{0DFEF9ED-46FF-DDDC-6D20-2534F2758680}"/>
          </ac:picMkLst>
        </pc:picChg>
      </pc:sldChg>
      <pc:sldChg chg="modSp add mod">
        <pc:chgData name="Strzyminski, Grzegorz" userId="0c1cb62d-c60a-4e4f-b918-a4b6f306529d" providerId="ADAL" clId="{851932D5-6311-41D2-86BD-382E555B8B3D}" dt="2024-03-07T23:26:03.653" v="1435" actId="27636"/>
        <pc:sldMkLst>
          <pc:docMk/>
          <pc:sldMk cId="1174468338" sldId="285"/>
        </pc:sldMkLst>
        <pc:spChg chg="mod">
          <ac:chgData name="Strzyminski, Grzegorz" userId="0c1cb62d-c60a-4e4f-b918-a4b6f306529d" providerId="ADAL" clId="{851932D5-6311-41D2-86BD-382E555B8B3D}" dt="2024-03-07T23:26:03.653" v="1435" actId="27636"/>
          <ac:spMkLst>
            <pc:docMk/>
            <pc:sldMk cId="1174468338" sldId="285"/>
            <ac:spMk id="5" creationId="{16F62582-09FB-82DE-EE84-0E928DE92042}"/>
          </ac:spMkLst>
        </pc:spChg>
      </pc:sldChg>
      <pc:sldMasterChg chg="addSp delSp modSp mod">
        <pc:chgData name="Strzyminski, Grzegorz" userId="0c1cb62d-c60a-4e4f-b918-a4b6f306529d" providerId="ADAL" clId="{851932D5-6311-41D2-86BD-382E555B8B3D}" dt="2024-03-04T14:25:36.466" v="107"/>
        <pc:sldMasterMkLst>
          <pc:docMk/>
          <pc:sldMasterMk cId="489246797" sldId="2147483648"/>
        </pc:sldMasterMkLst>
        <pc:spChg chg="mod">
          <ac:chgData name="Strzyminski, Grzegorz" userId="0c1cb62d-c60a-4e4f-b918-a4b6f306529d" providerId="ADAL" clId="{851932D5-6311-41D2-86BD-382E555B8B3D}" dt="2024-03-04T14:25:36.396" v="49" actId="948"/>
          <ac:spMkLst>
            <pc:docMk/>
            <pc:sldMasterMk cId="489246797" sldId="2147483648"/>
            <ac:spMk id="2" creationId="{205EAE9A-804E-34D7-4C5B-C7A082CE1634}"/>
          </ac:spMkLst>
        </pc:spChg>
        <pc:spChg chg="add del mod modVis">
          <ac:chgData name="Strzyminski, Grzegorz" userId="0c1cb62d-c60a-4e4f-b918-a4b6f306529d" providerId="ADAL" clId="{851932D5-6311-41D2-86BD-382E555B8B3D}" dt="2024-03-04T14:25:36.437" v="92"/>
          <ac:spMkLst>
            <pc:docMk/>
            <pc:sldMasterMk cId="489246797" sldId="2147483648"/>
            <ac:spMk id="7" creationId="{A2DFF0F4-EA13-44E0-80DD-4263DFC502C1}"/>
          </ac:spMkLst>
        </pc:spChg>
        <pc:graphicFrameChg chg="add mod ord modVis replST">
          <ac:chgData name="Strzyminski, Grzegorz" userId="0c1cb62d-c60a-4e4f-b918-a4b6f306529d" providerId="ADAL" clId="{851932D5-6311-41D2-86BD-382E555B8B3D}" dt="2024-03-04T14:25:36.466" v="107"/>
          <ac:graphicFrameMkLst>
            <pc:docMk/>
            <pc:sldMasterMk cId="489246797" sldId="2147483648"/>
            <ac:graphicFrameMk id="8" creationId="{609C808C-1099-2B58-0FCC-BE7EC7FE9CCA}"/>
          </ac:graphicFrameMkLst>
        </pc:graphicFrameChg>
      </pc:sldMasterChg>
    </pc:docChg>
  </pc:docChgLst>
  <pc:docChgLst>
    <pc:chgData name="Lonneke Opsteegh" userId="ec2a11b1-c5a7-4109-83b7-7550d0e8e4d6" providerId="ADAL" clId="{CD47201A-FAFC-40CE-909D-D389533DE89E}"/>
    <pc:docChg chg="undo custSel addSld delSld modSld modMainMaster addSection modSection">
      <pc:chgData name="Lonneke Opsteegh" userId="ec2a11b1-c5a7-4109-83b7-7550d0e8e4d6" providerId="ADAL" clId="{CD47201A-FAFC-40CE-909D-D389533DE89E}" dt="2024-02-25T18:52:54.815" v="464" actId="1076"/>
      <pc:docMkLst>
        <pc:docMk/>
      </pc:docMkLst>
      <pc:sldChg chg="addSp delSp modSp mod">
        <pc:chgData name="Lonneke Opsteegh" userId="ec2a11b1-c5a7-4109-83b7-7550d0e8e4d6" providerId="ADAL" clId="{CD47201A-FAFC-40CE-909D-D389533DE89E}" dt="2024-02-25T18:52:54.815" v="464" actId="1076"/>
        <pc:sldMkLst>
          <pc:docMk/>
          <pc:sldMk cId="1679404494" sldId="270"/>
        </pc:sldMkLst>
        <pc:spChg chg="mod">
          <ac:chgData name="Lonneke Opsteegh" userId="ec2a11b1-c5a7-4109-83b7-7550d0e8e4d6" providerId="ADAL" clId="{CD47201A-FAFC-40CE-909D-D389533DE89E}" dt="2024-02-25T18:52:54.815" v="464" actId="1076"/>
          <ac:spMkLst>
            <pc:docMk/>
            <pc:sldMk cId="1679404494" sldId="270"/>
            <ac:spMk id="4" creationId="{826FE342-87B7-A648-C038-40C65EFCF64A}"/>
          </ac:spMkLst>
        </pc:spChg>
        <pc:spChg chg="del">
          <ac:chgData name="Lonneke Opsteegh" userId="ec2a11b1-c5a7-4109-83b7-7550d0e8e4d6" providerId="ADAL" clId="{CD47201A-FAFC-40CE-909D-D389533DE89E}" dt="2024-02-25T18:51:31.389" v="422"/>
          <ac:spMkLst>
            <pc:docMk/>
            <pc:sldMk cId="1679404494" sldId="270"/>
            <ac:spMk id="5" creationId="{516765B0-8A53-B553-47C5-E860A6C0965B}"/>
          </ac:spMkLst>
        </pc:spChg>
        <pc:spChg chg="del">
          <ac:chgData name="Lonneke Opsteegh" userId="ec2a11b1-c5a7-4109-83b7-7550d0e8e4d6" providerId="ADAL" clId="{CD47201A-FAFC-40CE-909D-D389533DE89E}" dt="2024-02-25T18:51:35.144" v="423"/>
          <ac:spMkLst>
            <pc:docMk/>
            <pc:sldMk cId="1679404494" sldId="270"/>
            <ac:spMk id="6" creationId="{8C2D4B2B-6E10-5C72-9D5B-F15E0B34AFA1}"/>
          </ac:spMkLst>
        </pc:spChg>
        <pc:spChg chg="add mod">
          <ac:chgData name="Lonneke Opsteegh" userId="ec2a11b1-c5a7-4109-83b7-7550d0e8e4d6" providerId="ADAL" clId="{CD47201A-FAFC-40CE-909D-D389533DE89E}" dt="2024-02-25T18:52:52.022" v="463" actId="1076"/>
          <ac:spMkLst>
            <pc:docMk/>
            <pc:sldMk cId="1679404494" sldId="270"/>
            <ac:spMk id="9" creationId="{D98311A2-297F-2216-52B7-5243C23DB863}"/>
          </ac:spMkLst>
        </pc:spChg>
        <pc:spChg chg="add mod">
          <ac:chgData name="Lonneke Opsteegh" userId="ec2a11b1-c5a7-4109-83b7-7550d0e8e4d6" providerId="ADAL" clId="{CD47201A-FAFC-40CE-909D-D389533DE89E}" dt="2024-02-25T18:51:51.667" v="453" actId="571"/>
          <ac:spMkLst>
            <pc:docMk/>
            <pc:sldMk cId="1679404494" sldId="270"/>
            <ac:spMk id="10" creationId="{E8FB4C0D-91A7-F123-F2A4-ACDFC24B0AC0}"/>
          </ac:spMkLst>
        </pc:spChg>
        <pc:picChg chg="add mod">
          <ac:chgData name="Lonneke Opsteegh" userId="ec2a11b1-c5a7-4109-83b7-7550d0e8e4d6" providerId="ADAL" clId="{CD47201A-FAFC-40CE-909D-D389533DE89E}" dt="2024-02-25T18:52:54.815" v="464" actId="1076"/>
          <ac:picMkLst>
            <pc:docMk/>
            <pc:sldMk cId="1679404494" sldId="270"/>
            <ac:picMk id="3" creationId="{D9811995-11BE-4A5F-1BA1-C77131ECA1F4}"/>
          </ac:picMkLst>
        </pc:picChg>
        <pc:picChg chg="add mod">
          <ac:chgData name="Lonneke Opsteegh" userId="ec2a11b1-c5a7-4109-83b7-7550d0e8e4d6" providerId="ADAL" clId="{CD47201A-FAFC-40CE-909D-D389533DE89E}" dt="2024-02-25T18:52:52.022" v="463" actId="1076"/>
          <ac:picMkLst>
            <pc:docMk/>
            <pc:sldMk cId="1679404494" sldId="270"/>
            <ac:picMk id="8" creationId="{69DA9BB0-4EAA-EC63-F821-5028650B7090}"/>
          </ac:picMkLst>
        </pc:picChg>
      </pc:sldChg>
      <pc:sldChg chg="addSp delSp modSp mod">
        <pc:chgData name="Lonneke Opsteegh" userId="ec2a11b1-c5a7-4109-83b7-7550d0e8e4d6" providerId="ADAL" clId="{CD47201A-FAFC-40CE-909D-D389533DE89E}" dt="2024-02-24T12:16:33.935" v="421" actId="1036"/>
        <pc:sldMkLst>
          <pc:docMk/>
          <pc:sldMk cId="4164166654" sldId="271"/>
        </pc:sldMkLst>
        <pc:spChg chg="del">
          <ac:chgData name="Lonneke Opsteegh" userId="ec2a11b1-c5a7-4109-83b7-7550d0e8e4d6" providerId="ADAL" clId="{CD47201A-FAFC-40CE-909D-D389533DE89E}" dt="2024-02-24T11:47:06.072" v="42" actId="478"/>
          <ac:spMkLst>
            <pc:docMk/>
            <pc:sldMk cId="4164166654" sldId="271"/>
            <ac:spMk id="2" creationId="{B3F743F7-4747-8EEE-A510-3F4205A076B3}"/>
          </ac:spMkLst>
        </pc:spChg>
        <pc:spChg chg="add mod">
          <ac:chgData name="Lonneke Opsteegh" userId="ec2a11b1-c5a7-4109-83b7-7550d0e8e4d6" providerId="ADAL" clId="{CD47201A-FAFC-40CE-909D-D389533DE89E}" dt="2024-02-24T12:08:04.325" v="267" actId="14100"/>
          <ac:spMkLst>
            <pc:docMk/>
            <pc:sldMk cId="4164166654" sldId="271"/>
            <ac:spMk id="3" creationId="{BA6B785E-0482-4DE9-6411-B9F0011702EC}"/>
          </ac:spMkLst>
        </pc:spChg>
        <pc:spChg chg="add mod">
          <ac:chgData name="Lonneke Opsteegh" userId="ec2a11b1-c5a7-4109-83b7-7550d0e8e4d6" providerId="ADAL" clId="{CD47201A-FAFC-40CE-909D-D389533DE89E}" dt="2024-02-24T12:15:03.118" v="398" actId="1076"/>
          <ac:spMkLst>
            <pc:docMk/>
            <pc:sldMk cId="4164166654" sldId="271"/>
            <ac:spMk id="8" creationId="{C033C121-0D0A-F331-64B5-45EC74BE782D}"/>
          </ac:spMkLst>
        </pc:spChg>
        <pc:spChg chg="add mod">
          <ac:chgData name="Lonneke Opsteegh" userId="ec2a11b1-c5a7-4109-83b7-7550d0e8e4d6" providerId="ADAL" clId="{CD47201A-FAFC-40CE-909D-D389533DE89E}" dt="2024-02-24T12:15:03.118" v="398" actId="1076"/>
          <ac:spMkLst>
            <pc:docMk/>
            <pc:sldMk cId="4164166654" sldId="271"/>
            <ac:spMk id="20" creationId="{BBCC6CC4-E3D2-9D47-04B2-8B0AD19BFE75}"/>
          </ac:spMkLst>
        </pc:spChg>
        <pc:spChg chg="add mod">
          <ac:chgData name="Lonneke Opsteegh" userId="ec2a11b1-c5a7-4109-83b7-7550d0e8e4d6" providerId="ADAL" clId="{CD47201A-FAFC-40CE-909D-D389533DE89E}" dt="2024-02-24T12:15:14.327" v="400" actId="1076"/>
          <ac:spMkLst>
            <pc:docMk/>
            <pc:sldMk cId="4164166654" sldId="271"/>
            <ac:spMk id="21" creationId="{E5775597-B16D-66C8-0585-F5115C1EBCCE}"/>
          </ac:spMkLst>
        </pc:spChg>
        <pc:spChg chg="add mod">
          <ac:chgData name="Lonneke Opsteegh" userId="ec2a11b1-c5a7-4109-83b7-7550d0e8e4d6" providerId="ADAL" clId="{CD47201A-FAFC-40CE-909D-D389533DE89E}" dt="2024-02-24T12:15:10.397" v="399" actId="1076"/>
          <ac:spMkLst>
            <pc:docMk/>
            <pc:sldMk cId="4164166654" sldId="271"/>
            <ac:spMk id="32" creationId="{B0BFFB9E-561A-A56B-2797-A16C36EC0D8C}"/>
          </ac:spMkLst>
        </pc:spChg>
        <pc:spChg chg="add mod">
          <ac:chgData name="Lonneke Opsteegh" userId="ec2a11b1-c5a7-4109-83b7-7550d0e8e4d6" providerId="ADAL" clId="{CD47201A-FAFC-40CE-909D-D389533DE89E}" dt="2024-02-24T12:15:03.118" v="398" actId="1076"/>
          <ac:spMkLst>
            <pc:docMk/>
            <pc:sldMk cId="4164166654" sldId="271"/>
            <ac:spMk id="50" creationId="{BE8CE4B8-A71E-6E4B-82A7-FB2D3ACC0CC7}"/>
          </ac:spMkLst>
        </pc:spChg>
        <pc:picChg chg="add mod modCrop">
          <ac:chgData name="Lonneke Opsteegh" userId="ec2a11b1-c5a7-4109-83b7-7550d0e8e4d6" providerId="ADAL" clId="{CD47201A-FAFC-40CE-909D-D389533DE89E}" dt="2024-02-24T12:16:33.935" v="421" actId="1036"/>
          <ac:picMkLst>
            <pc:docMk/>
            <pc:sldMk cId="4164166654" sldId="271"/>
            <ac:picMk id="5" creationId="{84A46512-9C20-0113-82A3-9BD1442FF106}"/>
          </ac:picMkLst>
        </pc:picChg>
        <pc:picChg chg="add mod modCrop">
          <ac:chgData name="Lonneke Opsteegh" userId="ec2a11b1-c5a7-4109-83b7-7550d0e8e4d6" providerId="ADAL" clId="{CD47201A-FAFC-40CE-909D-D389533DE89E}" dt="2024-02-24T12:16:24.725" v="414" actId="1076"/>
          <ac:picMkLst>
            <pc:docMk/>
            <pc:sldMk cId="4164166654" sldId="271"/>
            <ac:picMk id="7" creationId="{F4725450-C220-AD50-15F1-81D9DA7A62B9}"/>
          </ac:picMkLst>
        </pc:picChg>
        <pc:picChg chg="add del mod">
          <ac:chgData name="Lonneke Opsteegh" userId="ec2a11b1-c5a7-4109-83b7-7550d0e8e4d6" providerId="ADAL" clId="{CD47201A-FAFC-40CE-909D-D389533DE89E}" dt="2024-02-24T11:48:59.253" v="82" actId="478"/>
          <ac:picMkLst>
            <pc:docMk/>
            <pc:sldMk cId="4164166654" sldId="271"/>
            <ac:picMk id="12" creationId="{C9545D68-7471-218C-007E-D0BE4BD74912}"/>
          </ac:picMkLst>
        </pc:picChg>
        <pc:picChg chg="add mod">
          <ac:chgData name="Lonneke Opsteegh" userId="ec2a11b1-c5a7-4109-83b7-7550d0e8e4d6" providerId="ADAL" clId="{CD47201A-FAFC-40CE-909D-D389533DE89E}" dt="2024-02-24T12:16:01.543" v="408" actId="12789"/>
          <ac:picMkLst>
            <pc:docMk/>
            <pc:sldMk cId="4164166654" sldId="271"/>
            <ac:picMk id="14" creationId="{7A619FB7-7286-888D-0D77-A05D2D680A6E}"/>
          </ac:picMkLst>
        </pc:picChg>
        <pc:picChg chg="add mod">
          <ac:chgData name="Lonneke Opsteegh" userId="ec2a11b1-c5a7-4109-83b7-7550d0e8e4d6" providerId="ADAL" clId="{CD47201A-FAFC-40CE-909D-D389533DE89E}" dt="2024-02-24T12:16:16.181" v="411" actId="1076"/>
          <ac:picMkLst>
            <pc:docMk/>
            <pc:sldMk cId="4164166654" sldId="271"/>
            <ac:picMk id="17" creationId="{9580D8A2-A060-1388-C921-DBA6B44239F6}"/>
          </ac:picMkLst>
        </pc:picChg>
        <pc:picChg chg="add mod">
          <ac:chgData name="Lonneke Opsteegh" userId="ec2a11b1-c5a7-4109-83b7-7550d0e8e4d6" providerId="ADAL" clId="{CD47201A-FAFC-40CE-909D-D389533DE89E}" dt="2024-02-24T12:16:14.125" v="410" actId="1076"/>
          <ac:picMkLst>
            <pc:docMk/>
            <pc:sldMk cId="4164166654" sldId="271"/>
            <ac:picMk id="19" creationId="{A831BC41-03F3-2CA9-393C-237251A5E23F}"/>
          </ac:picMkLst>
        </pc:picChg>
        <pc:picChg chg="add mod">
          <ac:chgData name="Lonneke Opsteegh" userId="ec2a11b1-c5a7-4109-83b7-7550d0e8e4d6" providerId="ADAL" clId="{CD47201A-FAFC-40CE-909D-D389533DE89E}" dt="2024-02-24T12:15:39.119" v="404" actId="12789"/>
          <ac:picMkLst>
            <pc:docMk/>
            <pc:sldMk cId="4164166654" sldId="271"/>
            <ac:picMk id="24" creationId="{120E498A-9D96-F278-8F94-FFBA44908B46}"/>
          </ac:picMkLst>
        </pc:picChg>
        <pc:picChg chg="add del mod">
          <ac:chgData name="Lonneke Opsteegh" userId="ec2a11b1-c5a7-4109-83b7-7550d0e8e4d6" providerId="ADAL" clId="{CD47201A-FAFC-40CE-909D-D389533DE89E}" dt="2024-02-24T11:57:40.261" v="132" actId="478"/>
          <ac:picMkLst>
            <pc:docMk/>
            <pc:sldMk cId="4164166654" sldId="271"/>
            <ac:picMk id="26" creationId="{C399FE50-7D4F-AA0C-CF69-00679473E86C}"/>
          </ac:picMkLst>
        </pc:picChg>
        <pc:picChg chg="add mod">
          <ac:chgData name="Lonneke Opsteegh" userId="ec2a11b1-c5a7-4109-83b7-7550d0e8e4d6" providerId="ADAL" clId="{CD47201A-FAFC-40CE-909D-D389533DE89E}" dt="2024-02-24T12:16:19.150" v="412" actId="1076"/>
          <ac:picMkLst>
            <pc:docMk/>
            <pc:sldMk cId="4164166654" sldId="271"/>
            <ac:picMk id="28" creationId="{C27C52F9-234C-7D21-E921-17A884A27CEE}"/>
          </ac:picMkLst>
        </pc:picChg>
        <pc:picChg chg="add mod modCrop">
          <ac:chgData name="Lonneke Opsteegh" userId="ec2a11b1-c5a7-4109-83b7-7550d0e8e4d6" providerId="ADAL" clId="{CD47201A-FAFC-40CE-909D-D389533DE89E}" dt="2024-02-24T12:16:11.254" v="409" actId="1076"/>
          <ac:picMkLst>
            <pc:docMk/>
            <pc:sldMk cId="4164166654" sldId="271"/>
            <ac:picMk id="30" creationId="{04B3C470-5C48-05DA-9CB4-A9BEC2AA92D5}"/>
          </ac:picMkLst>
        </pc:picChg>
        <pc:picChg chg="add mod">
          <ac:chgData name="Lonneke Opsteegh" userId="ec2a11b1-c5a7-4109-83b7-7550d0e8e4d6" providerId="ADAL" clId="{CD47201A-FAFC-40CE-909D-D389533DE89E}" dt="2024-02-24T12:08:59.734" v="278" actId="1076"/>
          <ac:picMkLst>
            <pc:docMk/>
            <pc:sldMk cId="4164166654" sldId="271"/>
            <ac:picMk id="34" creationId="{CE31F379-2A34-E5B4-F957-C17E1224BE21}"/>
          </ac:picMkLst>
        </pc:picChg>
        <pc:picChg chg="add mod">
          <ac:chgData name="Lonneke Opsteegh" userId="ec2a11b1-c5a7-4109-83b7-7550d0e8e4d6" providerId="ADAL" clId="{CD47201A-FAFC-40CE-909D-D389533DE89E}" dt="2024-02-24T12:08:59.734" v="278" actId="1076"/>
          <ac:picMkLst>
            <pc:docMk/>
            <pc:sldMk cId="4164166654" sldId="271"/>
            <ac:picMk id="36" creationId="{5DF01228-2F86-AA52-A385-6DFDE2451075}"/>
          </ac:picMkLst>
        </pc:picChg>
        <pc:picChg chg="add mod">
          <ac:chgData name="Lonneke Opsteegh" userId="ec2a11b1-c5a7-4109-83b7-7550d0e8e4d6" providerId="ADAL" clId="{CD47201A-FAFC-40CE-909D-D389533DE89E}" dt="2024-02-24T12:08:59.734" v="278" actId="1076"/>
          <ac:picMkLst>
            <pc:docMk/>
            <pc:sldMk cId="4164166654" sldId="271"/>
            <ac:picMk id="38" creationId="{CE30AA9C-A035-56D9-62C7-17E3FDB43765}"/>
          </ac:picMkLst>
        </pc:picChg>
        <pc:picChg chg="add mod">
          <ac:chgData name="Lonneke Opsteegh" userId="ec2a11b1-c5a7-4109-83b7-7550d0e8e4d6" providerId="ADAL" clId="{CD47201A-FAFC-40CE-909D-D389533DE89E}" dt="2024-02-24T12:08:59.734" v="278" actId="1076"/>
          <ac:picMkLst>
            <pc:docMk/>
            <pc:sldMk cId="4164166654" sldId="271"/>
            <ac:picMk id="40" creationId="{3F9E3CED-F584-977D-10D0-70DEE66AF3FC}"/>
          </ac:picMkLst>
        </pc:picChg>
        <pc:picChg chg="add mod">
          <ac:chgData name="Lonneke Opsteegh" userId="ec2a11b1-c5a7-4109-83b7-7550d0e8e4d6" providerId="ADAL" clId="{CD47201A-FAFC-40CE-909D-D389533DE89E}" dt="2024-02-24T12:09:04.957" v="279" actId="1076"/>
          <ac:picMkLst>
            <pc:docMk/>
            <pc:sldMk cId="4164166654" sldId="271"/>
            <ac:picMk id="42" creationId="{705E362F-52CC-943E-5D72-D502C7F8D7D6}"/>
          </ac:picMkLst>
        </pc:picChg>
        <pc:picChg chg="add mod">
          <ac:chgData name="Lonneke Opsteegh" userId="ec2a11b1-c5a7-4109-83b7-7550d0e8e4d6" providerId="ADAL" clId="{CD47201A-FAFC-40CE-909D-D389533DE89E}" dt="2024-02-24T12:09:04.957" v="279" actId="1076"/>
          <ac:picMkLst>
            <pc:docMk/>
            <pc:sldMk cId="4164166654" sldId="271"/>
            <ac:picMk id="44" creationId="{1BB2B881-EFF3-86B1-DBB3-F12C76A27CB1}"/>
          </ac:picMkLst>
        </pc:picChg>
        <pc:picChg chg="add mod modCrop">
          <ac:chgData name="Lonneke Opsteegh" userId="ec2a11b1-c5a7-4109-83b7-7550d0e8e4d6" providerId="ADAL" clId="{CD47201A-FAFC-40CE-909D-D389533DE89E}" dt="2024-02-24T12:09:04.957" v="279" actId="1076"/>
          <ac:picMkLst>
            <pc:docMk/>
            <pc:sldMk cId="4164166654" sldId="271"/>
            <ac:picMk id="46" creationId="{16FF4C20-27CE-4760-DBC9-E7AD76F12F8F}"/>
          </ac:picMkLst>
        </pc:picChg>
        <pc:picChg chg="add mod modCrop">
          <ac:chgData name="Lonneke Opsteegh" userId="ec2a11b1-c5a7-4109-83b7-7550d0e8e4d6" providerId="ADAL" clId="{CD47201A-FAFC-40CE-909D-D389533DE89E}" dt="2024-02-24T12:09:04.957" v="279" actId="1076"/>
          <ac:picMkLst>
            <pc:docMk/>
            <pc:sldMk cId="4164166654" sldId="271"/>
            <ac:picMk id="48" creationId="{EFDCEB3E-0E53-D67F-F670-C80852C79792}"/>
          </ac:picMkLst>
        </pc:picChg>
        <pc:picChg chg="add mod">
          <ac:chgData name="Lonneke Opsteegh" userId="ec2a11b1-c5a7-4109-83b7-7550d0e8e4d6" providerId="ADAL" clId="{CD47201A-FAFC-40CE-909D-D389533DE89E}" dt="2024-02-24T12:14:36.934" v="395" actId="12789"/>
          <ac:picMkLst>
            <pc:docMk/>
            <pc:sldMk cId="4164166654" sldId="271"/>
            <ac:picMk id="52" creationId="{D0D3F962-3CB0-12E5-C953-EE7BAE11B2EA}"/>
          </ac:picMkLst>
        </pc:picChg>
        <pc:picChg chg="add mod">
          <ac:chgData name="Lonneke Opsteegh" userId="ec2a11b1-c5a7-4109-83b7-7550d0e8e4d6" providerId="ADAL" clId="{CD47201A-FAFC-40CE-909D-D389533DE89E}" dt="2024-02-24T12:14:36.934" v="395" actId="12789"/>
          <ac:picMkLst>
            <pc:docMk/>
            <pc:sldMk cId="4164166654" sldId="271"/>
            <ac:picMk id="54" creationId="{78B960F1-F13D-4475-45A6-D23D48D9A879}"/>
          </ac:picMkLst>
        </pc:picChg>
        <pc:picChg chg="add mod modCrop">
          <ac:chgData name="Lonneke Opsteegh" userId="ec2a11b1-c5a7-4109-83b7-7550d0e8e4d6" providerId="ADAL" clId="{CD47201A-FAFC-40CE-909D-D389533DE89E}" dt="2024-02-24T12:14:36.934" v="395" actId="12789"/>
          <ac:picMkLst>
            <pc:docMk/>
            <pc:sldMk cId="4164166654" sldId="271"/>
            <ac:picMk id="56" creationId="{9DA0D8BA-25B2-8045-A7C7-93191936E0D4}"/>
          </ac:picMkLst>
        </pc:picChg>
        <pc:picChg chg="add mod modCrop">
          <ac:chgData name="Lonneke Opsteegh" userId="ec2a11b1-c5a7-4109-83b7-7550d0e8e4d6" providerId="ADAL" clId="{CD47201A-FAFC-40CE-909D-D389533DE89E}" dt="2024-02-24T12:14:36.934" v="395" actId="12789"/>
          <ac:picMkLst>
            <pc:docMk/>
            <pc:sldMk cId="4164166654" sldId="271"/>
            <ac:picMk id="58" creationId="{27C0BCFA-494B-2746-39BB-AA21DE9159BD}"/>
          </ac:picMkLst>
        </pc:picChg>
        <pc:picChg chg="add mod">
          <ac:chgData name="Lonneke Opsteegh" userId="ec2a11b1-c5a7-4109-83b7-7550d0e8e4d6" providerId="ADAL" clId="{CD47201A-FAFC-40CE-909D-D389533DE89E}" dt="2024-02-24T12:14:21.635" v="392" actId="12789"/>
          <ac:picMkLst>
            <pc:docMk/>
            <pc:sldMk cId="4164166654" sldId="271"/>
            <ac:picMk id="60" creationId="{353C86F7-81BC-A6BD-3CB7-6DFB1F7D3B21}"/>
          </ac:picMkLst>
        </pc:picChg>
        <pc:picChg chg="add mod">
          <ac:chgData name="Lonneke Opsteegh" userId="ec2a11b1-c5a7-4109-83b7-7550d0e8e4d6" providerId="ADAL" clId="{CD47201A-FAFC-40CE-909D-D389533DE89E}" dt="2024-02-24T12:14:21.635" v="392" actId="12789"/>
          <ac:picMkLst>
            <pc:docMk/>
            <pc:sldMk cId="4164166654" sldId="271"/>
            <ac:picMk id="62" creationId="{498229BB-2429-DC97-817E-B477DE115ED0}"/>
          </ac:picMkLst>
        </pc:picChg>
        <pc:picChg chg="add mod">
          <ac:chgData name="Lonneke Opsteegh" userId="ec2a11b1-c5a7-4109-83b7-7550d0e8e4d6" providerId="ADAL" clId="{CD47201A-FAFC-40CE-909D-D389533DE89E}" dt="2024-02-24T12:14:21.635" v="392" actId="12789"/>
          <ac:picMkLst>
            <pc:docMk/>
            <pc:sldMk cId="4164166654" sldId="271"/>
            <ac:picMk id="64" creationId="{0B0724BC-D9D7-7CE3-2DF8-68C9A1050241}"/>
          </ac:picMkLst>
        </pc:picChg>
        <pc:picChg chg="add mod">
          <ac:chgData name="Lonneke Opsteegh" userId="ec2a11b1-c5a7-4109-83b7-7550d0e8e4d6" providerId="ADAL" clId="{CD47201A-FAFC-40CE-909D-D389533DE89E}" dt="2024-02-24T12:14:21.635" v="392" actId="12789"/>
          <ac:picMkLst>
            <pc:docMk/>
            <pc:sldMk cId="4164166654" sldId="271"/>
            <ac:picMk id="66" creationId="{5122EDB4-FF50-CB8B-6143-353367DE18EE}"/>
          </ac:picMkLst>
        </pc:picChg>
        <pc:picChg chg="add mod modCrop">
          <ac:chgData name="Lonneke Opsteegh" userId="ec2a11b1-c5a7-4109-83b7-7550d0e8e4d6" providerId="ADAL" clId="{CD47201A-FAFC-40CE-909D-D389533DE89E}" dt="2024-02-24T12:14:50.654" v="397" actId="12789"/>
          <ac:picMkLst>
            <pc:docMk/>
            <pc:sldMk cId="4164166654" sldId="271"/>
            <ac:picMk id="68" creationId="{B87F7FA3-CDB4-9777-D342-090B91286476}"/>
          </ac:picMkLst>
        </pc:picChg>
        <pc:picChg chg="add mod">
          <ac:chgData name="Lonneke Opsteegh" userId="ec2a11b1-c5a7-4109-83b7-7550d0e8e4d6" providerId="ADAL" clId="{CD47201A-FAFC-40CE-909D-D389533DE89E}" dt="2024-02-24T12:14:50.654" v="397" actId="12789"/>
          <ac:picMkLst>
            <pc:docMk/>
            <pc:sldMk cId="4164166654" sldId="271"/>
            <ac:picMk id="70" creationId="{225CE224-217E-B15A-39CD-3A814B7E31C5}"/>
          </ac:picMkLst>
        </pc:picChg>
        <pc:picChg chg="add del mod">
          <ac:chgData name="Lonneke Opsteegh" userId="ec2a11b1-c5a7-4109-83b7-7550d0e8e4d6" providerId="ADAL" clId="{CD47201A-FAFC-40CE-909D-D389533DE89E}" dt="2024-02-24T12:12:42.582" v="362" actId="478"/>
          <ac:picMkLst>
            <pc:docMk/>
            <pc:sldMk cId="4164166654" sldId="271"/>
            <ac:picMk id="72" creationId="{4D523F8F-823E-F5FA-9957-6EC3DF90205D}"/>
          </ac:picMkLst>
        </pc:picChg>
        <pc:picChg chg="add mod">
          <ac:chgData name="Lonneke Opsteegh" userId="ec2a11b1-c5a7-4109-83b7-7550d0e8e4d6" providerId="ADAL" clId="{CD47201A-FAFC-40CE-909D-D389533DE89E}" dt="2024-02-24T12:14:50.654" v="397" actId="12789"/>
          <ac:picMkLst>
            <pc:docMk/>
            <pc:sldMk cId="4164166654" sldId="271"/>
            <ac:picMk id="74" creationId="{9524B1F2-46EE-091D-F62D-9F0E49C11558}"/>
          </ac:picMkLst>
        </pc:picChg>
        <pc:picChg chg="add mod">
          <ac:chgData name="Lonneke Opsteegh" userId="ec2a11b1-c5a7-4109-83b7-7550d0e8e4d6" providerId="ADAL" clId="{CD47201A-FAFC-40CE-909D-D389533DE89E}" dt="2024-02-24T12:14:50.654" v="397" actId="12789"/>
          <ac:picMkLst>
            <pc:docMk/>
            <pc:sldMk cId="4164166654" sldId="271"/>
            <ac:picMk id="76" creationId="{92DE153F-54E7-F973-2517-447BBBC62E7C}"/>
          </ac:picMkLst>
        </pc:picChg>
        <pc:picChg chg="add mod">
          <ac:chgData name="Lonneke Opsteegh" userId="ec2a11b1-c5a7-4109-83b7-7550d0e8e4d6" providerId="ADAL" clId="{CD47201A-FAFC-40CE-909D-D389533DE89E}" dt="2024-02-24T12:12:53.089" v="366" actId="571"/>
          <ac:picMkLst>
            <pc:docMk/>
            <pc:sldMk cId="4164166654" sldId="271"/>
            <ac:picMk id="77" creationId="{92F59C5B-967A-24A0-BDB2-AE2DF7925F20}"/>
          </ac:picMkLst>
        </pc:picChg>
        <pc:picChg chg="add mod">
          <ac:chgData name="Lonneke Opsteegh" userId="ec2a11b1-c5a7-4109-83b7-7550d0e8e4d6" providerId="ADAL" clId="{CD47201A-FAFC-40CE-909D-D389533DE89E}" dt="2024-02-24T12:12:53.089" v="366" actId="571"/>
          <ac:picMkLst>
            <pc:docMk/>
            <pc:sldMk cId="4164166654" sldId="271"/>
            <ac:picMk id="78" creationId="{948FF65C-69C4-2755-0F37-84AE07FFBFBD}"/>
          </ac:picMkLst>
        </pc:picChg>
        <pc:cxnChg chg="add mod">
          <ac:chgData name="Lonneke Opsteegh" userId="ec2a11b1-c5a7-4109-83b7-7550d0e8e4d6" providerId="ADAL" clId="{CD47201A-FAFC-40CE-909D-D389533DE89E}" dt="2024-02-24T12:08:14.853" v="271" actId="1076"/>
          <ac:cxnSpMkLst>
            <pc:docMk/>
            <pc:sldMk cId="4164166654" sldId="271"/>
            <ac:cxnSpMk id="10" creationId="{2C3B49A3-FFC2-07C2-D59A-ED5404A1AE89}"/>
          </ac:cxnSpMkLst>
        </pc:cxnChg>
        <pc:cxnChg chg="add mod">
          <ac:chgData name="Lonneke Opsteegh" userId="ec2a11b1-c5a7-4109-83b7-7550d0e8e4d6" providerId="ADAL" clId="{CD47201A-FAFC-40CE-909D-D389533DE89E}" dt="2024-02-24T12:08:29.477" v="274" actId="1076"/>
          <ac:cxnSpMkLst>
            <pc:docMk/>
            <pc:sldMk cId="4164166654" sldId="271"/>
            <ac:cxnSpMk id="22" creationId="{A4529CD5-2F5D-3965-3836-316ED2B1F224}"/>
          </ac:cxnSpMkLst>
        </pc:cxnChg>
        <pc:cxnChg chg="add mod">
          <ac:chgData name="Lonneke Opsteegh" userId="ec2a11b1-c5a7-4109-83b7-7550d0e8e4d6" providerId="ADAL" clId="{CD47201A-FAFC-40CE-909D-D389533DE89E}" dt="2024-02-24T12:08:52.750" v="277" actId="1076"/>
          <ac:cxnSpMkLst>
            <pc:docMk/>
            <pc:sldMk cId="4164166654" sldId="271"/>
            <ac:cxnSpMk id="31" creationId="{5A58A870-BE78-4304-FB44-82F620A9A93C}"/>
          </ac:cxnSpMkLst>
        </pc:cxnChg>
        <pc:cxnChg chg="add mod">
          <ac:chgData name="Lonneke Opsteegh" userId="ec2a11b1-c5a7-4109-83b7-7550d0e8e4d6" providerId="ADAL" clId="{CD47201A-FAFC-40CE-909D-D389533DE89E}" dt="2024-02-24T12:09:08.925" v="280" actId="571"/>
          <ac:cxnSpMkLst>
            <pc:docMk/>
            <pc:sldMk cId="4164166654" sldId="271"/>
            <ac:cxnSpMk id="49" creationId="{8645E9BF-43D0-4B34-2479-88FE1827A9E7}"/>
          </ac:cxnSpMkLst>
        </pc:cxnChg>
      </pc:sldChg>
      <pc:sldChg chg="delSp new mod modClrScheme chgLayout">
        <pc:chgData name="Lonneke Opsteegh" userId="ec2a11b1-c5a7-4109-83b7-7550d0e8e4d6" providerId="ADAL" clId="{CD47201A-FAFC-40CE-909D-D389533DE89E}" dt="2023-02-15T14:37:03.638" v="26" actId="700"/>
        <pc:sldMkLst>
          <pc:docMk/>
          <pc:sldMk cId="879414398" sldId="272"/>
        </pc:sldMkLst>
        <pc:spChg chg="del">
          <ac:chgData name="Lonneke Opsteegh" userId="ec2a11b1-c5a7-4109-83b7-7550d0e8e4d6" providerId="ADAL" clId="{CD47201A-FAFC-40CE-909D-D389533DE89E}" dt="2023-02-15T14:37:03.638" v="26" actId="700"/>
          <ac:spMkLst>
            <pc:docMk/>
            <pc:sldMk cId="879414398" sldId="272"/>
            <ac:spMk id="2" creationId="{09525DCC-2C5B-B865-E571-93E2DC8A8F8C}"/>
          </ac:spMkLst>
        </pc:spChg>
        <pc:spChg chg="del">
          <ac:chgData name="Lonneke Opsteegh" userId="ec2a11b1-c5a7-4109-83b7-7550d0e8e4d6" providerId="ADAL" clId="{CD47201A-FAFC-40CE-909D-D389533DE89E}" dt="2023-02-15T14:37:03.638" v="26" actId="700"/>
          <ac:spMkLst>
            <pc:docMk/>
            <pc:sldMk cId="879414398" sldId="272"/>
            <ac:spMk id="3" creationId="{0B5F74E2-D737-F221-080D-88BDA3FF2ADE}"/>
          </ac:spMkLst>
        </pc:spChg>
      </pc:sldChg>
      <pc:sldChg chg="addSp modSp del mod">
        <pc:chgData name="Lonneke Opsteegh" userId="ec2a11b1-c5a7-4109-83b7-7550d0e8e4d6" providerId="ADAL" clId="{CD47201A-FAFC-40CE-909D-D389533DE89E}" dt="2023-02-15T14:36:58.471" v="24" actId="47"/>
        <pc:sldMkLst>
          <pc:docMk/>
          <pc:sldMk cId="1295083531" sldId="272"/>
        </pc:sldMkLst>
        <pc:picChg chg="mod">
          <ac:chgData name="Lonneke Opsteegh" userId="ec2a11b1-c5a7-4109-83b7-7550d0e8e4d6" providerId="ADAL" clId="{CD47201A-FAFC-40CE-909D-D389533DE89E}" dt="2023-02-15T14:35:54.499" v="21" actId="1076"/>
          <ac:picMkLst>
            <pc:docMk/>
            <pc:sldMk cId="1295083531" sldId="272"/>
            <ac:picMk id="2" creationId="{2212CDC1-1447-088F-2773-38204767A71A}"/>
          </ac:picMkLst>
        </pc:picChg>
        <pc:picChg chg="add mod">
          <ac:chgData name="Lonneke Opsteegh" userId="ec2a11b1-c5a7-4109-83b7-7550d0e8e4d6" providerId="ADAL" clId="{CD47201A-FAFC-40CE-909D-D389533DE89E}" dt="2023-02-15T14:35:28.443" v="18" actId="553"/>
          <ac:picMkLst>
            <pc:docMk/>
            <pc:sldMk cId="1295083531" sldId="272"/>
            <ac:picMk id="8" creationId="{74BAC68B-A624-E9C6-C90A-B3ED4A6E494F}"/>
          </ac:picMkLst>
        </pc:picChg>
        <pc:picChg chg="mod">
          <ac:chgData name="Lonneke Opsteegh" userId="ec2a11b1-c5a7-4109-83b7-7550d0e8e4d6" providerId="ADAL" clId="{CD47201A-FAFC-40CE-909D-D389533DE89E}" dt="2023-02-15T14:35:44.795" v="20" actId="1076"/>
          <ac:picMkLst>
            <pc:docMk/>
            <pc:sldMk cId="1295083531" sldId="272"/>
            <ac:picMk id="10" creationId="{EA6BC12B-AD4C-886E-EFD6-02F83D9BAF67}"/>
          </ac:picMkLst>
        </pc:picChg>
        <pc:picChg chg="mod">
          <ac:chgData name="Lonneke Opsteegh" userId="ec2a11b1-c5a7-4109-83b7-7550d0e8e4d6" providerId="ADAL" clId="{CD47201A-FAFC-40CE-909D-D389533DE89E}" dt="2023-02-15T14:35:28.443" v="18" actId="553"/>
          <ac:picMkLst>
            <pc:docMk/>
            <pc:sldMk cId="1295083531" sldId="272"/>
            <ac:picMk id="12" creationId="{F4F339A5-288F-2466-ED24-AF17BAF3CDEB}"/>
          </ac:picMkLst>
        </pc:picChg>
        <pc:picChg chg="mod">
          <ac:chgData name="Lonneke Opsteegh" userId="ec2a11b1-c5a7-4109-83b7-7550d0e8e4d6" providerId="ADAL" clId="{CD47201A-FAFC-40CE-909D-D389533DE89E}" dt="2023-02-15T14:35:40.134" v="19" actId="408"/>
          <ac:picMkLst>
            <pc:docMk/>
            <pc:sldMk cId="1295083531" sldId="272"/>
            <ac:picMk id="13" creationId="{CC64D91C-73FC-6105-06DC-23F6D96C741F}"/>
          </ac:picMkLst>
        </pc:picChg>
        <pc:picChg chg="mod">
          <ac:chgData name="Lonneke Opsteegh" userId="ec2a11b1-c5a7-4109-83b7-7550d0e8e4d6" providerId="ADAL" clId="{CD47201A-FAFC-40CE-909D-D389533DE89E}" dt="2023-02-15T14:35:28.443" v="18" actId="553"/>
          <ac:picMkLst>
            <pc:docMk/>
            <pc:sldMk cId="1295083531" sldId="272"/>
            <ac:picMk id="15" creationId="{8C9CCB94-16A3-5B89-5695-FC57F04F48DA}"/>
          </ac:picMkLst>
        </pc:picChg>
        <pc:picChg chg="mod">
          <ac:chgData name="Lonneke Opsteegh" userId="ec2a11b1-c5a7-4109-83b7-7550d0e8e4d6" providerId="ADAL" clId="{CD47201A-FAFC-40CE-909D-D389533DE89E}" dt="2023-02-15T14:35:40.134" v="19" actId="408"/>
          <ac:picMkLst>
            <pc:docMk/>
            <pc:sldMk cId="1295083531" sldId="272"/>
            <ac:picMk id="16" creationId="{6B7B93EE-9291-4EE5-6635-C3ACEA44FA97}"/>
          </ac:picMkLst>
        </pc:picChg>
        <pc:picChg chg="mod">
          <ac:chgData name="Lonneke Opsteegh" userId="ec2a11b1-c5a7-4109-83b7-7550d0e8e4d6" providerId="ADAL" clId="{CD47201A-FAFC-40CE-909D-D389533DE89E}" dt="2023-02-15T14:35:12.380" v="14" actId="1076"/>
          <ac:picMkLst>
            <pc:docMk/>
            <pc:sldMk cId="1295083531" sldId="272"/>
            <ac:picMk id="22" creationId="{10F82ACC-4D8C-25DB-D12A-5F83D2E2C0F0}"/>
          </ac:picMkLst>
        </pc:picChg>
        <pc:picChg chg="mod">
          <ac:chgData name="Lonneke Opsteegh" userId="ec2a11b1-c5a7-4109-83b7-7550d0e8e4d6" providerId="ADAL" clId="{CD47201A-FAFC-40CE-909D-D389533DE89E}" dt="2023-02-15T14:34:55.252" v="9" actId="1076"/>
          <ac:picMkLst>
            <pc:docMk/>
            <pc:sldMk cId="1295083531" sldId="272"/>
            <ac:picMk id="24" creationId="{2293B7F7-42AE-384A-E051-BD429F1F8E21}"/>
          </ac:picMkLst>
        </pc:picChg>
        <pc:picChg chg="mod">
          <ac:chgData name="Lonneke Opsteegh" userId="ec2a11b1-c5a7-4109-83b7-7550d0e8e4d6" providerId="ADAL" clId="{CD47201A-FAFC-40CE-909D-D389533DE89E}" dt="2023-02-15T14:35:12.380" v="14" actId="1076"/>
          <ac:picMkLst>
            <pc:docMk/>
            <pc:sldMk cId="1295083531" sldId="272"/>
            <ac:picMk id="28" creationId="{23D23DB5-4289-04B7-618C-61D1285BF5DB}"/>
          </ac:picMkLst>
        </pc:picChg>
        <pc:picChg chg="mod">
          <ac:chgData name="Lonneke Opsteegh" userId="ec2a11b1-c5a7-4109-83b7-7550d0e8e4d6" providerId="ADAL" clId="{CD47201A-FAFC-40CE-909D-D389533DE89E}" dt="2023-02-15T14:34:55.252" v="9" actId="1076"/>
          <ac:picMkLst>
            <pc:docMk/>
            <pc:sldMk cId="1295083531" sldId="272"/>
            <ac:picMk id="30" creationId="{B0D84EE8-E9CF-7EB8-3807-A0EF831E1A26}"/>
          </ac:picMkLst>
        </pc:picChg>
        <pc:picChg chg="mod">
          <ac:chgData name="Lonneke Opsteegh" userId="ec2a11b1-c5a7-4109-83b7-7550d0e8e4d6" providerId="ADAL" clId="{CD47201A-FAFC-40CE-909D-D389533DE89E}" dt="2023-02-15T14:35:04.821" v="12" actId="12788"/>
          <ac:picMkLst>
            <pc:docMk/>
            <pc:sldMk cId="1295083531" sldId="272"/>
            <ac:picMk id="32" creationId="{F9C2186E-CA52-DF92-FD93-575DA34A03C9}"/>
          </ac:picMkLst>
        </pc:picChg>
        <pc:picChg chg="mod">
          <ac:chgData name="Lonneke Opsteegh" userId="ec2a11b1-c5a7-4109-83b7-7550d0e8e4d6" providerId="ADAL" clId="{CD47201A-FAFC-40CE-909D-D389533DE89E}" dt="2023-02-15T14:35:04.821" v="12" actId="12788"/>
          <ac:picMkLst>
            <pc:docMk/>
            <pc:sldMk cId="1295083531" sldId="272"/>
            <ac:picMk id="34" creationId="{97ABF862-06C7-33DA-732C-0F93A84BF0AA}"/>
          </ac:picMkLst>
        </pc:picChg>
        <pc:picChg chg="mod">
          <ac:chgData name="Lonneke Opsteegh" userId="ec2a11b1-c5a7-4109-83b7-7550d0e8e4d6" providerId="ADAL" clId="{CD47201A-FAFC-40CE-909D-D389533DE89E}" dt="2023-02-15T14:35:28.443" v="18" actId="553"/>
          <ac:picMkLst>
            <pc:docMk/>
            <pc:sldMk cId="1295083531" sldId="272"/>
            <ac:picMk id="36" creationId="{AEB63145-5B3C-EA0F-E1A3-D7EB5344B35D}"/>
          </ac:picMkLst>
        </pc:picChg>
        <pc:picChg chg="mod">
          <ac:chgData name="Lonneke Opsteegh" userId="ec2a11b1-c5a7-4109-83b7-7550d0e8e4d6" providerId="ADAL" clId="{CD47201A-FAFC-40CE-909D-D389533DE89E}" dt="2023-02-15T14:35:04.821" v="12" actId="12788"/>
          <ac:picMkLst>
            <pc:docMk/>
            <pc:sldMk cId="1295083531" sldId="272"/>
            <ac:picMk id="40" creationId="{45EC5D00-2ED8-0566-E1E5-8C6F4578F6D8}"/>
          </ac:picMkLst>
        </pc:picChg>
        <pc:picChg chg="mod">
          <ac:chgData name="Lonneke Opsteegh" userId="ec2a11b1-c5a7-4109-83b7-7550d0e8e4d6" providerId="ADAL" clId="{CD47201A-FAFC-40CE-909D-D389533DE89E}" dt="2023-02-15T14:34:57.804" v="10" actId="1076"/>
          <ac:picMkLst>
            <pc:docMk/>
            <pc:sldMk cId="1295083531" sldId="272"/>
            <ac:picMk id="42" creationId="{7AB04E64-0458-D92A-162B-B5441C27264F}"/>
          </ac:picMkLst>
        </pc:picChg>
      </pc:sldChg>
      <pc:sldMasterChg chg="addSldLayout modSldLayout">
        <pc:chgData name="Lonneke Opsteegh" userId="ec2a11b1-c5a7-4109-83b7-7550d0e8e4d6" providerId="ADAL" clId="{CD47201A-FAFC-40CE-909D-D389533DE89E}" dt="2023-02-21T10:47:30.977" v="39" actId="408"/>
        <pc:sldMasterMkLst>
          <pc:docMk/>
          <pc:sldMasterMk cId="489246797" sldId="2147483648"/>
        </pc:sldMasterMkLst>
        <pc:sldLayoutChg chg="addSp delSp modSp add mod modTransition">
          <pc:chgData name="Lonneke Opsteegh" userId="ec2a11b1-c5a7-4109-83b7-7550d0e8e4d6" providerId="ADAL" clId="{CD47201A-FAFC-40CE-909D-D389533DE89E}" dt="2023-02-21T10:47:30.977" v="39" actId="408"/>
          <pc:sldLayoutMkLst>
            <pc:docMk/>
            <pc:sldMasterMk cId="489246797" sldId="2147483648"/>
            <pc:sldLayoutMk cId="204632846" sldId="2147483662"/>
          </pc:sldLayoutMkLst>
          <pc:spChg chg="add mod">
            <ac:chgData name="Lonneke Opsteegh" userId="ec2a11b1-c5a7-4109-83b7-7550d0e8e4d6" providerId="ADAL" clId="{CD47201A-FAFC-40CE-909D-D389533DE89E}" dt="2023-02-15T14:36:49.319" v="23"/>
            <ac:spMkLst>
              <pc:docMk/>
              <pc:sldMasterMk cId="489246797" sldId="2147483648"/>
              <pc:sldLayoutMk cId="204632846" sldId="2147483662"/>
              <ac:spMk id="40" creationId="{42886A9B-79B9-24B6-6EE9-A490D8886407}"/>
            </ac:spMkLst>
          </pc:spChg>
          <pc:spChg chg="add mod">
            <ac:chgData name="Lonneke Opsteegh" userId="ec2a11b1-c5a7-4109-83b7-7550d0e8e4d6" providerId="ADAL" clId="{CD47201A-FAFC-40CE-909D-D389533DE89E}" dt="2023-02-15T14:36:49.319" v="23"/>
            <ac:spMkLst>
              <pc:docMk/>
              <pc:sldMasterMk cId="489246797" sldId="2147483648"/>
              <pc:sldLayoutMk cId="204632846" sldId="2147483662"/>
              <ac:spMk id="41" creationId="{4312FBA6-EF7A-0DC7-8FBE-4CB0CD253414}"/>
            </ac:spMkLst>
          </pc:spChg>
          <pc:spChg chg="add mod">
            <ac:chgData name="Lonneke Opsteegh" userId="ec2a11b1-c5a7-4109-83b7-7550d0e8e4d6" providerId="ADAL" clId="{CD47201A-FAFC-40CE-909D-D389533DE89E}" dt="2023-02-15T14:36:49.319" v="23"/>
            <ac:spMkLst>
              <pc:docMk/>
              <pc:sldMasterMk cId="489246797" sldId="2147483648"/>
              <pc:sldLayoutMk cId="204632846" sldId="2147483662"/>
              <ac:spMk id="42" creationId="{2450D961-747E-208D-1D7B-DB2DF99A39E5}"/>
            </ac:spMkLst>
          </pc:spChg>
          <pc:spChg chg="add mod">
            <ac:chgData name="Lonneke Opsteegh" userId="ec2a11b1-c5a7-4109-83b7-7550d0e8e4d6" providerId="ADAL" clId="{CD47201A-FAFC-40CE-909D-D389533DE89E}" dt="2023-02-15T14:36:49.319" v="23"/>
            <ac:spMkLst>
              <pc:docMk/>
              <pc:sldMasterMk cId="489246797" sldId="2147483648"/>
              <pc:sldLayoutMk cId="204632846" sldId="2147483662"/>
              <ac:spMk id="43" creationId="{F7EEA52D-5CD9-4B44-4555-AECF0D1F4E4A}"/>
            </ac:spMkLst>
          </pc:spChg>
          <pc:spChg chg="add mod">
            <ac:chgData name="Lonneke Opsteegh" userId="ec2a11b1-c5a7-4109-83b7-7550d0e8e4d6" providerId="ADAL" clId="{CD47201A-FAFC-40CE-909D-D389533DE89E}" dt="2023-02-15T14:36:49.319" v="23"/>
            <ac:spMkLst>
              <pc:docMk/>
              <pc:sldMasterMk cId="489246797" sldId="2147483648"/>
              <pc:sldLayoutMk cId="204632846" sldId="2147483662"/>
              <ac:spMk id="44" creationId="{162B4A89-3A68-37CA-A8A3-A5D47182208C}"/>
            </ac:spMkLst>
          </pc:spChg>
          <pc:picChg chg="add mod">
            <ac:chgData name="Lonneke Opsteegh" userId="ec2a11b1-c5a7-4109-83b7-7550d0e8e4d6" providerId="ADAL" clId="{CD47201A-FAFC-40CE-909D-D389533DE89E}" dt="2023-02-21T10:47:30.977" v="39" actId="408"/>
            <ac:picMkLst>
              <pc:docMk/>
              <pc:sldMasterMk cId="489246797" sldId="2147483648"/>
              <pc:sldLayoutMk cId="204632846" sldId="2147483662"/>
              <ac:picMk id="5" creationId="{FB15CC3D-A606-9A28-FED2-2CFA86DCD96F}"/>
            </ac:picMkLst>
          </pc:picChg>
          <pc:picChg chg="add mod">
            <ac:chgData name="Lonneke Opsteegh" userId="ec2a11b1-c5a7-4109-83b7-7550d0e8e4d6" providerId="ADAL" clId="{CD47201A-FAFC-40CE-909D-D389533DE89E}" dt="2023-02-21T10:47:23.383" v="38" actId="1076"/>
            <ac:picMkLst>
              <pc:docMk/>
              <pc:sldMasterMk cId="489246797" sldId="2147483648"/>
              <pc:sldLayoutMk cId="204632846" sldId="2147483662"/>
              <ac:picMk id="14" creationId="{8DBF57D9-3BB4-B5CB-13C7-E035A21A8618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15" creationId="{ABBCE7CD-45B5-D0F9-90D6-7C9E7E55F66A}"/>
            </ac:picMkLst>
          </pc:picChg>
          <pc:picChg chg="add mod">
            <ac:chgData name="Lonneke Opsteegh" userId="ec2a11b1-c5a7-4109-83b7-7550d0e8e4d6" providerId="ADAL" clId="{CD47201A-FAFC-40CE-909D-D389533DE89E}" dt="2023-02-21T10:47:30.977" v="39" actId="408"/>
            <ac:picMkLst>
              <pc:docMk/>
              <pc:sldMasterMk cId="489246797" sldId="2147483648"/>
              <pc:sldLayoutMk cId="204632846" sldId="2147483662"/>
              <ac:picMk id="16" creationId="{490E102A-6B37-2E52-5533-59DA049DF25B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17" creationId="{A054E8EA-E709-613A-B2D8-6ED1FBF75449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18" creationId="{3C251BC3-2BB5-1039-A172-1A22B1003D8A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19" creationId="{BCA85889-C099-E75F-72AA-181C8BBDEC27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20" creationId="{743EFAD9-377C-B668-EE96-E9AA8D52330B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21" creationId="{B7A03652-0A3B-7766-31BC-A26AFF3AE632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22" creationId="{6E2F056C-031D-A514-7238-F08F39F47E4C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23" creationId="{A446CA01-7B21-C2D8-70C5-DA044E11A825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24" creationId="{5A428C06-0A9D-11EA-BF8C-64B777781527}"/>
            </ac:picMkLst>
          </pc:picChg>
          <pc:picChg chg="add mod">
            <ac:chgData name="Lonneke Opsteegh" userId="ec2a11b1-c5a7-4109-83b7-7550d0e8e4d6" providerId="ADAL" clId="{CD47201A-FAFC-40CE-909D-D389533DE89E}" dt="2023-02-15T14:38:26.790" v="28" actId="1076"/>
            <ac:picMkLst>
              <pc:docMk/>
              <pc:sldMasterMk cId="489246797" sldId="2147483648"/>
              <pc:sldLayoutMk cId="204632846" sldId="2147483662"/>
              <ac:picMk id="25" creationId="{E53A814B-344E-8BF6-87CB-FC5AC5F90E91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26" creationId="{D621666D-F7B6-233C-A5DF-68F47806D240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27" creationId="{B0A411CD-1928-FB67-EB0B-E44248A497B5}"/>
            </ac:picMkLst>
          </pc:picChg>
          <pc:picChg chg="add mod">
            <ac:chgData name="Lonneke Opsteegh" userId="ec2a11b1-c5a7-4109-83b7-7550d0e8e4d6" providerId="ADAL" clId="{CD47201A-FAFC-40CE-909D-D389533DE89E}" dt="2023-02-15T14:38:26.790" v="28" actId="1076"/>
            <ac:picMkLst>
              <pc:docMk/>
              <pc:sldMasterMk cId="489246797" sldId="2147483648"/>
              <pc:sldLayoutMk cId="204632846" sldId="2147483662"/>
              <ac:picMk id="28" creationId="{AB8AF58F-9250-F4D6-75F0-1B1E04059805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29" creationId="{A208C5DC-FFF4-E6CE-00BA-1BDDB5E13722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30" creationId="{5205A613-4C57-9201-F3DF-91B83DACE433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31" creationId="{4D6187C2-EB2C-FD57-2C9B-08D3496A6298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32" creationId="{EAB7215C-8B03-2F6E-687F-44A36F7EDDE6}"/>
            </ac:picMkLst>
          </pc:picChg>
          <pc:picChg chg="add mod">
            <ac:chgData name="Lonneke Opsteegh" userId="ec2a11b1-c5a7-4109-83b7-7550d0e8e4d6" providerId="ADAL" clId="{CD47201A-FAFC-40CE-909D-D389533DE89E}" dt="2023-02-15T14:38:26.790" v="28" actId="1076"/>
            <ac:picMkLst>
              <pc:docMk/>
              <pc:sldMasterMk cId="489246797" sldId="2147483648"/>
              <pc:sldLayoutMk cId="204632846" sldId="2147483662"/>
              <ac:picMk id="33" creationId="{78D3E332-6186-8137-D94F-5CCA7759ED04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34" creationId="{EE4B188D-3B01-C3B3-678C-2CE8BAC98D09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35" creationId="{000E3ECB-B811-7AD6-BA7B-00D581B601D8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36" creationId="{48CBA419-D01C-5A06-E7C9-E3091DCAB6B2}"/>
            </ac:picMkLst>
          </pc:picChg>
          <pc:picChg chg="add mod">
            <ac:chgData name="Lonneke Opsteegh" userId="ec2a11b1-c5a7-4109-83b7-7550d0e8e4d6" providerId="ADAL" clId="{CD47201A-FAFC-40CE-909D-D389533DE89E}" dt="2023-02-15T14:36:49.319" v="23"/>
            <ac:picMkLst>
              <pc:docMk/>
              <pc:sldMasterMk cId="489246797" sldId="2147483648"/>
              <pc:sldLayoutMk cId="204632846" sldId="2147483662"/>
              <ac:picMk id="45" creationId="{974554CF-6ED3-4C02-C31A-06CA692E28AE}"/>
            </ac:picMkLst>
          </pc:picChg>
          <pc:picChg chg="add del mod">
            <ac:chgData name="Lonneke Opsteegh" userId="ec2a11b1-c5a7-4109-83b7-7550d0e8e4d6" providerId="ADAL" clId="{CD47201A-FAFC-40CE-909D-D389533DE89E}" dt="2023-02-21T10:46:31.659" v="29" actId="478"/>
            <ac:picMkLst>
              <pc:docMk/>
              <pc:sldMasterMk cId="489246797" sldId="2147483648"/>
              <pc:sldLayoutMk cId="204632846" sldId="2147483662"/>
              <ac:picMk id="46" creationId="{76FA59F0-5C5E-5771-F215-B761E6C687C3}"/>
            </ac:picMkLst>
          </pc:picChg>
          <pc:picChg chg="add mod">
            <ac:chgData name="Lonneke Opsteegh" userId="ec2a11b1-c5a7-4109-83b7-7550d0e8e4d6" providerId="ADAL" clId="{CD47201A-FAFC-40CE-909D-D389533DE89E}" dt="2023-02-21T10:47:05.144" v="36" actId="1076"/>
            <ac:picMkLst>
              <pc:docMk/>
              <pc:sldMasterMk cId="489246797" sldId="2147483648"/>
              <pc:sldLayoutMk cId="204632846" sldId="2147483662"/>
              <ac:picMk id="48" creationId="{537A0058-5ACD-35B5-CAB6-ABACB0F64F41}"/>
            </ac:picMkLst>
          </pc:picChg>
          <pc:cxnChg chg="add mod">
            <ac:chgData name="Lonneke Opsteegh" userId="ec2a11b1-c5a7-4109-83b7-7550d0e8e4d6" providerId="ADAL" clId="{CD47201A-FAFC-40CE-909D-D389533DE89E}" dt="2023-02-15T14:36:49.319" v="23"/>
            <ac:cxnSpMkLst>
              <pc:docMk/>
              <pc:sldMasterMk cId="489246797" sldId="2147483648"/>
              <pc:sldLayoutMk cId="204632846" sldId="2147483662"/>
              <ac:cxnSpMk id="37" creationId="{155BF058-CED0-1AFD-E96E-99B8B7EEBEAD}"/>
            </ac:cxnSpMkLst>
          </pc:cxnChg>
          <pc:cxnChg chg="add mod">
            <ac:chgData name="Lonneke Opsteegh" userId="ec2a11b1-c5a7-4109-83b7-7550d0e8e4d6" providerId="ADAL" clId="{CD47201A-FAFC-40CE-909D-D389533DE89E}" dt="2023-02-15T14:36:49.319" v="23"/>
            <ac:cxnSpMkLst>
              <pc:docMk/>
              <pc:sldMasterMk cId="489246797" sldId="2147483648"/>
              <pc:sldLayoutMk cId="204632846" sldId="2147483662"/>
              <ac:cxnSpMk id="38" creationId="{20490058-DAFB-6BE2-017B-FEAAE909E86F}"/>
            </ac:cxnSpMkLst>
          </pc:cxnChg>
          <pc:cxnChg chg="add mod">
            <ac:chgData name="Lonneke Opsteegh" userId="ec2a11b1-c5a7-4109-83b7-7550d0e8e4d6" providerId="ADAL" clId="{CD47201A-FAFC-40CE-909D-D389533DE89E}" dt="2023-02-15T14:36:49.319" v="23"/>
            <ac:cxnSpMkLst>
              <pc:docMk/>
              <pc:sldMasterMk cId="489246797" sldId="2147483648"/>
              <pc:sldLayoutMk cId="204632846" sldId="2147483662"/>
              <ac:cxnSpMk id="39" creationId="{D93ED777-73ED-DA4F-07F8-871D63EC2FD1}"/>
            </ac:cxnSpMkLst>
          </pc:cxnChg>
        </pc:sldLayoutChg>
      </pc:sldMaster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.svg"/><Relationship Id="rId18" Type="http://schemas.openxmlformats.org/officeDocument/2006/relationships/image" Target="../media/image19.png"/><Relationship Id="rId26" Type="http://schemas.openxmlformats.org/officeDocument/2006/relationships/image" Target="../media/image27.svg"/><Relationship Id="rId39" Type="http://schemas.openxmlformats.org/officeDocument/2006/relationships/image" Target="../media/image40.png"/><Relationship Id="rId21" Type="http://schemas.openxmlformats.org/officeDocument/2006/relationships/image" Target="../media/image22.jpg"/><Relationship Id="rId34" Type="http://schemas.openxmlformats.org/officeDocument/2006/relationships/image" Target="../media/image35.sv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svg"/><Relationship Id="rId25" Type="http://schemas.openxmlformats.org/officeDocument/2006/relationships/image" Target="../media/image26.png"/><Relationship Id="rId33" Type="http://schemas.openxmlformats.org/officeDocument/2006/relationships/image" Target="../media/image34.png"/><Relationship Id="rId38" Type="http://schemas.openxmlformats.org/officeDocument/2006/relationships/image" Target="../media/image39.svg"/><Relationship Id="rId2" Type="http://schemas.openxmlformats.org/officeDocument/2006/relationships/image" Target="../media/image2.png"/><Relationship Id="rId16" Type="http://schemas.openxmlformats.org/officeDocument/2006/relationships/image" Target="../media/image17.png"/><Relationship Id="rId20" Type="http://schemas.openxmlformats.org/officeDocument/2006/relationships/image" Target="../media/image21.svg"/><Relationship Id="rId29" Type="http://schemas.openxmlformats.org/officeDocument/2006/relationships/image" Target="../media/image30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24" Type="http://schemas.openxmlformats.org/officeDocument/2006/relationships/image" Target="../media/image25.svg"/><Relationship Id="rId32" Type="http://schemas.openxmlformats.org/officeDocument/2006/relationships/image" Target="../media/image33.jpg"/><Relationship Id="rId37" Type="http://schemas.openxmlformats.org/officeDocument/2006/relationships/image" Target="../media/image38.png"/><Relationship Id="rId40" Type="http://schemas.openxmlformats.org/officeDocument/2006/relationships/image" Target="../media/image41.png"/><Relationship Id="rId5" Type="http://schemas.openxmlformats.org/officeDocument/2006/relationships/image" Target="../media/image6.png"/><Relationship Id="rId15" Type="http://schemas.openxmlformats.org/officeDocument/2006/relationships/image" Target="../media/image16.svg"/><Relationship Id="rId23" Type="http://schemas.openxmlformats.org/officeDocument/2006/relationships/image" Target="../media/image24.png"/><Relationship Id="rId28" Type="http://schemas.openxmlformats.org/officeDocument/2006/relationships/image" Target="../media/image29.svg"/><Relationship Id="rId36" Type="http://schemas.openxmlformats.org/officeDocument/2006/relationships/image" Target="../media/image37.jp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31" Type="http://schemas.openxmlformats.org/officeDocument/2006/relationships/image" Target="../media/image32.png"/><Relationship Id="rId4" Type="http://schemas.openxmlformats.org/officeDocument/2006/relationships/image" Target="../media/image5.svg"/><Relationship Id="rId9" Type="http://schemas.openxmlformats.org/officeDocument/2006/relationships/image" Target="../media/image10.svg"/><Relationship Id="rId14" Type="http://schemas.openxmlformats.org/officeDocument/2006/relationships/image" Target="../media/image15.png"/><Relationship Id="rId22" Type="http://schemas.openxmlformats.org/officeDocument/2006/relationships/image" Target="../media/image23.png"/><Relationship Id="rId27" Type="http://schemas.openxmlformats.org/officeDocument/2006/relationships/image" Target="../media/image28.png"/><Relationship Id="rId30" Type="http://schemas.openxmlformats.org/officeDocument/2006/relationships/image" Target="../media/image31.jpg"/><Relationship Id="rId35" Type="http://schemas.openxmlformats.org/officeDocument/2006/relationships/image" Target="../media/image36.png"/><Relationship Id="rId8" Type="http://schemas.openxmlformats.org/officeDocument/2006/relationships/image" Target="../media/image9.png"/><Relationship Id="rId3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99FD0F-1002-DAF1-F11B-8447D2288D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802B085-83E8-0262-A1F6-E3868EF64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7293C0-8170-6245-1CBE-ACCD0FA0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9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E6D5B6-8ED4-9FB1-2300-900005224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98AD632-609B-FE74-E40B-3588F7E9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D438FE0A-7733-36BE-E196-74E978138716}"/>
              </a:ext>
            </a:extLst>
          </p:cNvPr>
          <p:cNvGrpSpPr/>
          <p:nvPr userDrawn="1"/>
        </p:nvGrpSpPr>
        <p:grpSpPr>
          <a:xfrm rot="5400000">
            <a:off x="-3162300" y="3162300"/>
            <a:ext cx="6858000" cy="533400"/>
            <a:chOff x="581161" y="1449420"/>
            <a:chExt cx="11051985" cy="1777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9365B4F-9FC5-0D03-99E4-39221FE2D473}"/>
                </a:ext>
              </a:extLst>
            </p:cNvPr>
            <p:cNvSpPr/>
            <p:nvPr/>
          </p:nvSpPr>
          <p:spPr>
            <a:xfrm>
              <a:off x="581161" y="1449420"/>
              <a:ext cx="1748569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6A674D8-260F-33EF-4411-F4FD61B3C069}"/>
                </a:ext>
              </a:extLst>
            </p:cNvPr>
            <p:cNvSpPr/>
            <p:nvPr/>
          </p:nvSpPr>
          <p:spPr>
            <a:xfrm>
              <a:off x="2441844" y="1449420"/>
              <a:ext cx="1748569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4D4D124-CD86-8872-BE88-DB4A565A9529}"/>
                </a:ext>
              </a:extLst>
            </p:cNvPr>
            <p:cNvSpPr/>
            <p:nvPr/>
          </p:nvSpPr>
          <p:spPr>
            <a:xfrm>
              <a:off x="4302528" y="1449420"/>
              <a:ext cx="1748569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82604419-4235-33FD-6A53-2FC4D4651B97}"/>
                </a:ext>
              </a:extLst>
            </p:cNvPr>
            <p:cNvSpPr/>
            <p:nvPr/>
          </p:nvSpPr>
          <p:spPr>
            <a:xfrm>
              <a:off x="6163211" y="1449420"/>
              <a:ext cx="1748569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A5A19464-FE94-AA92-86D5-98A5F490F0DC}"/>
                </a:ext>
              </a:extLst>
            </p:cNvPr>
            <p:cNvSpPr/>
            <p:nvPr/>
          </p:nvSpPr>
          <p:spPr>
            <a:xfrm>
              <a:off x="8023895" y="1449420"/>
              <a:ext cx="1748569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41CCE16-02EA-B67B-4DD3-BFA9D6D3E8F9}"/>
                </a:ext>
              </a:extLst>
            </p:cNvPr>
            <p:cNvSpPr/>
            <p:nvPr/>
          </p:nvSpPr>
          <p:spPr>
            <a:xfrm>
              <a:off x="9884577" y="1449420"/>
              <a:ext cx="1748569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8499B9C8-992B-3DA1-9046-03D7E6C97E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049" y="61496"/>
            <a:ext cx="1793875" cy="801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81297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63AC42-3BFD-9A48-8DDC-EA7942C000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2C55C7B6-2D12-8F16-6EED-9FFC8CE9BB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F3A90214-2C55-53AC-6BBE-03A469FE49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CE734613-6ECD-90D1-DC59-E411E7E06BA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2BDCCA70-2A63-C7E8-5FDF-996FEB62D57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5235A2E7-3088-3A2D-888A-9977937F7C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9-3-2024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880629A2-E56E-4042-BECF-886848785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B42866AF-5934-0CD0-D42D-2FABAEF53B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1" name="Groep 10">
            <a:extLst>
              <a:ext uri="{FF2B5EF4-FFF2-40B4-BE49-F238E27FC236}">
                <a16:creationId xmlns:a16="http://schemas.microsoft.com/office/drawing/2014/main" id="{72E609B6-D04B-9CE0-D55E-81BFADCDFCA4}"/>
              </a:ext>
            </a:extLst>
          </p:cNvPr>
          <p:cNvGrpSpPr/>
          <p:nvPr userDrawn="1"/>
        </p:nvGrpSpPr>
        <p:grpSpPr>
          <a:xfrm>
            <a:off x="0" y="6533963"/>
            <a:ext cx="12192000" cy="271516"/>
            <a:chOff x="581161" y="1449420"/>
            <a:chExt cx="11103416" cy="177729"/>
          </a:xfrm>
        </p:grpSpPr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C0C1AF43-3F3B-89A7-55CD-AFB903B03EE9}"/>
                </a:ext>
              </a:extLst>
            </p:cNvPr>
            <p:cNvSpPr/>
            <p:nvPr/>
          </p:nvSpPr>
          <p:spPr>
            <a:xfrm>
              <a:off x="581161" y="1449420"/>
              <a:ext cx="1800000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E5CFD252-1A96-AB80-B6AD-1F7CE5C3A35E}"/>
                </a:ext>
              </a:extLst>
            </p:cNvPr>
            <p:cNvSpPr/>
            <p:nvPr/>
          </p:nvSpPr>
          <p:spPr>
            <a:xfrm>
              <a:off x="2441844" y="1449420"/>
              <a:ext cx="1800000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A627982A-3DED-AEAC-899A-80BB3655FE8E}"/>
                </a:ext>
              </a:extLst>
            </p:cNvPr>
            <p:cNvSpPr/>
            <p:nvPr/>
          </p:nvSpPr>
          <p:spPr>
            <a:xfrm>
              <a:off x="4302527" y="1449420"/>
              <a:ext cx="1800000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8597E914-76B6-5755-8E93-FC7C544FAC7F}"/>
                </a:ext>
              </a:extLst>
            </p:cNvPr>
            <p:cNvSpPr/>
            <p:nvPr/>
          </p:nvSpPr>
          <p:spPr>
            <a:xfrm>
              <a:off x="6163210" y="1449420"/>
              <a:ext cx="1800000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A0C01C63-8452-F3CD-79D5-9628D0593A45}"/>
                </a:ext>
              </a:extLst>
            </p:cNvPr>
            <p:cNvSpPr/>
            <p:nvPr/>
          </p:nvSpPr>
          <p:spPr>
            <a:xfrm>
              <a:off x="8023893" y="1449420"/>
              <a:ext cx="1800000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5C4776A3-FA4E-9305-4CF3-1FCCE29F6574}"/>
                </a:ext>
              </a:extLst>
            </p:cNvPr>
            <p:cNvSpPr/>
            <p:nvPr/>
          </p:nvSpPr>
          <p:spPr>
            <a:xfrm>
              <a:off x="9884577" y="1449420"/>
              <a:ext cx="1800000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18" name="Afbeelding 17">
            <a:extLst>
              <a:ext uri="{FF2B5EF4-FFF2-40B4-BE49-F238E27FC236}">
                <a16:creationId xmlns:a16="http://schemas.microsoft.com/office/drawing/2014/main" id="{E593CA94-568D-1AD6-5409-C84DE67521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049" y="61496"/>
            <a:ext cx="1793875" cy="801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0631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1A5494-8524-2C93-48DA-E9BF05ECB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D3FDBBC-E36B-A6AA-4CC9-3EB093F857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9-3-2024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E1B818F0-AD7E-5773-8B28-E07F4F0E6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99D73592-1E35-6F06-E4B7-EF619284E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A0493113-551F-B653-AE90-35F7B8E62753}"/>
              </a:ext>
            </a:extLst>
          </p:cNvPr>
          <p:cNvGrpSpPr/>
          <p:nvPr userDrawn="1"/>
        </p:nvGrpSpPr>
        <p:grpSpPr>
          <a:xfrm>
            <a:off x="0" y="6533963"/>
            <a:ext cx="12192000" cy="271516"/>
            <a:chOff x="581161" y="1449420"/>
            <a:chExt cx="11103416" cy="177729"/>
          </a:xfrm>
        </p:grpSpPr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id="{79F71244-8382-E55A-25D5-DAE85A8F2AEB}"/>
                </a:ext>
              </a:extLst>
            </p:cNvPr>
            <p:cNvSpPr/>
            <p:nvPr/>
          </p:nvSpPr>
          <p:spPr>
            <a:xfrm>
              <a:off x="581161" y="1449420"/>
              <a:ext cx="1800000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88F8C739-B777-5306-D065-60E0159B6D6F}"/>
                </a:ext>
              </a:extLst>
            </p:cNvPr>
            <p:cNvSpPr/>
            <p:nvPr/>
          </p:nvSpPr>
          <p:spPr>
            <a:xfrm>
              <a:off x="2441844" y="1449420"/>
              <a:ext cx="1800000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0091DFB-DE96-4EE0-C678-6AF95280205F}"/>
                </a:ext>
              </a:extLst>
            </p:cNvPr>
            <p:cNvSpPr/>
            <p:nvPr/>
          </p:nvSpPr>
          <p:spPr>
            <a:xfrm>
              <a:off x="4302527" y="1449420"/>
              <a:ext cx="1800000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86BFB85-B945-F7F7-B4A4-FD7F9EC52078}"/>
                </a:ext>
              </a:extLst>
            </p:cNvPr>
            <p:cNvSpPr/>
            <p:nvPr/>
          </p:nvSpPr>
          <p:spPr>
            <a:xfrm>
              <a:off x="6163210" y="1449420"/>
              <a:ext cx="1800000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6C401921-D1CB-AAA0-98A0-CC16DAB601B6}"/>
                </a:ext>
              </a:extLst>
            </p:cNvPr>
            <p:cNvSpPr/>
            <p:nvPr/>
          </p:nvSpPr>
          <p:spPr>
            <a:xfrm>
              <a:off x="8023893" y="1449420"/>
              <a:ext cx="1800000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5DC2F9BB-941F-46DF-5042-4FBF120EAC52}"/>
                </a:ext>
              </a:extLst>
            </p:cNvPr>
            <p:cNvSpPr/>
            <p:nvPr/>
          </p:nvSpPr>
          <p:spPr>
            <a:xfrm>
              <a:off x="9884577" y="1449420"/>
              <a:ext cx="1800000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47A26244-3833-2848-3184-6A637087E5E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049" y="61496"/>
            <a:ext cx="1793875" cy="801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4029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66F8921E-6DCE-842B-C444-45FC7D4569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9-3-2024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7C48EE3D-B2DB-99BE-8EA9-93719A6FFF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01C09AC-FF26-E1DF-6005-ABE047085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6" name="Groep 5">
            <a:extLst>
              <a:ext uri="{FF2B5EF4-FFF2-40B4-BE49-F238E27FC236}">
                <a16:creationId xmlns:a16="http://schemas.microsoft.com/office/drawing/2014/main" id="{EEE2D3F9-27EE-E741-3335-9227E3A71BCB}"/>
              </a:ext>
            </a:extLst>
          </p:cNvPr>
          <p:cNvGrpSpPr/>
          <p:nvPr userDrawn="1"/>
        </p:nvGrpSpPr>
        <p:grpSpPr>
          <a:xfrm>
            <a:off x="0" y="6533963"/>
            <a:ext cx="12192000" cy="271516"/>
            <a:chOff x="581161" y="1449420"/>
            <a:chExt cx="11103416" cy="177729"/>
          </a:xfrm>
        </p:grpSpPr>
        <p:sp>
          <p:nvSpPr>
            <p:cNvPr id="7" name="Rechthoek 6">
              <a:extLst>
                <a:ext uri="{FF2B5EF4-FFF2-40B4-BE49-F238E27FC236}">
                  <a16:creationId xmlns:a16="http://schemas.microsoft.com/office/drawing/2014/main" id="{E286B344-CB4C-9AF5-8CA9-AD3DEDADDF52}"/>
                </a:ext>
              </a:extLst>
            </p:cNvPr>
            <p:cNvSpPr/>
            <p:nvPr/>
          </p:nvSpPr>
          <p:spPr>
            <a:xfrm>
              <a:off x="581161" y="1449420"/>
              <a:ext cx="1800000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id="{9281D39A-F34B-2ECA-EB25-C739A5B9A2E1}"/>
                </a:ext>
              </a:extLst>
            </p:cNvPr>
            <p:cNvSpPr/>
            <p:nvPr/>
          </p:nvSpPr>
          <p:spPr>
            <a:xfrm>
              <a:off x="2441844" y="1449420"/>
              <a:ext cx="1800000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BC345351-4A34-A924-82BB-D2E41E4F22EA}"/>
                </a:ext>
              </a:extLst>
            </p:cNvPr>
            <p:cNvSpPr/>
            <p:nvPr/>
          </p:nvSpPr>
          <p:spPr>
            <a:xfrm>
              <a:off x="4302527" y="1449420"/>
              <a:ext cx="1800000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650A3AB1-2AF0-4403-B3D0-D010D30E71BD}"/>
                </a:ext>
              </a:extLst>
            </p:cNvPr>
            <p:cNvSpPr/>
            <p:nvPr/>
          </p:nvSpPr>
          <p:spPr>
            <a:xfrm>
              <a:off x="6163210" y="1449420"/>
              <a:ext cx="1800000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4F78753-41F1-754F-7261-5111E9425CCF}"/>
                </a:ext>
              </a:extLst>
            </p:cNvPr>
            <p:cNvSpPr/>
            <p:nvPr/>
          </p:nvSpPr>
          <p:spPr>
            <a:xfrm>
              <a:off x="8023893" y="1449420"/>
              <a:ext cx="1800000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17F4E5FB-6B18-6208-BC4D-27EC01F5B2AD}"/>
                </a:ext>
              </a:extLst>
            </p:cNvPr>
            <p:cNvSpPr/>
            <p:nvPr/>
          </p:nvSpPr>
          <p:spPr>
            <a:xfrm>
              <a:off x="9884577" y="1449420"/>
              <a:ext cx="1800000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14AC6FD0-BE18-4C36-653C-A83DC94642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049" y="61496"/>
            <a:ext cx="1793875" cy="801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5544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66F8921E-6DCE-842B-C444-45FC7D4569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9-3-2024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7C48EE3D-B2DB-99BE-8EA9-93719A6FFF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01C09AC-FF26-E1DF-6005-ABE047085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6" name="Groep 5">
            <a:extLst>
              <a:ext uri="{FF2B5EF4-FFF2-40B4-BE49-F238E27FC236}">
                <a16:creationId xmlns:a16="http://schemas.microsoft.com/office/drawing/2014/main" id="{EEE2D3F9-27EE-E741-3335-9227E3A71BCB}"/>
              </a:ext>
            </a:extLst>
          </p:cNvPr>
          <p:cNvGrpSpPr/>
          <p:nvPr userDrawn="1"/>
        </p:nvGrpSpPr>
        <p:grpSpPr>
          <a:xfrm>
            <a:off x="0" y="6533963"/>
            <a:ext cx="12192000" cy="271516"/>
            <a:chOff x="581161" y="1449420"/>
            <a:chExt cx="11103416" cy="177729"/>
          </a:xfrm>
        </p:grpSpPr>
        <p:sp>
          <p:nvSpPr>
            <p:cNvPr id="7" name="Rechthoek 6">
              <a:extLst>
                <a:ext uri="{FF2B5EF4-FFF2-40B4-BE49-F238E27FC236}">
                  <a16:creationId xmlns:a16="http://schemas.microsoft.com/office/drawing/2014/main" id="{E286B344-CB4C-9AF5-8CA9-AD3DEDADDF52}"/>
                </a:ext>
              </a:extLst>
            </p:cNvPr>
            <p:cNvSpPr/>
            <p:nvPr/>
          </p:nvSpPr>
          <p:spPr>
            <a:xfrm>
              <a:off x="581161" y="1449420"/>
              <a:ext cx="1800000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id="{9281D39A-F34B-2ECA-EB25-C739A5B9A2E1}"/>
                </a:ext>
              </a:extLst>
            </p:cNvPr>
            <p:cNvSpPr/>
            <p:nvPr/>
          </p:nvSpPr>
          <p:spPr>
            <a:xfrm>
              <a:off x="2441844" y="1449420"/>
              <a:ext cx="1800000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BC345351-4A34-A924-82BB-D2E41E4F22EA}"/>
                </a:ext>
              </a:extLst>
            </p:cNvPr>
            <p:cNvSpPr/>
            <p:nvPr/>
          </p:nvSpPr>
          <p:spPr>
            <a:xfrm>
              <a:off x="4302527" y="1449420"/>
              <a:ext cx="1800000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650A3AB1-2AF0-4403-B3D0-D010D30E71BD}"/>
                </a:ext>
              </a:extLst>
            </p:cNvPr>
            <p:cNvSpPr/>
            <p:nvPr/>
          </p:nvSpPr>
          <p:spPr>
            <a:xfrm>
              <a:off x="6163210" y="1449420"/>
              <a:ext cx="1800000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4F78753-41F1-754F-7261-5111E9425CCF}"/>
                </a:ext>
              </a:extLst>
            </p:cNvPr>
            <p:cNvSpPr/>
            <p:nvPr/>
          </p:nvSpPr>
          <p:spPr>
            <a:xfrm>
              <a:off x="8023893" y="1449420"/>
              <a:ext cx="1800000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17F4E5FB-6B18-6208-BC4D-27EC01F5B2AD}"/>
                </a:ext>
              </a:extLst>
            </p:cNvPr>
            <p:cNvSpPr/>
            <p:nvPr/>
          </p:nvSpPr>
          <p:spPr>
            <a:xfrm>
              <a:off x="9884577" y="1449420"/>
              <a:ext cx="1800000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14AC6FD0-BE18-4C36-653C-A83DC94642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049" y="61496"/>
            <a:ext cx="1793875" cy="801271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FB15CC3D-A606-9A28-FED2-2CFA86DCD9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57559" y="829545"/>
            <a:ext cx="2367950" cy="879190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8DBF57D9-3BB4-B5CB-13C7-E035A21A861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1459" y="1119999"/>
            <a:ext cx="3214870" cy="602788"/>
          </a:xfrm>
          <a:prstGeom prst="rect">
            <a:avLst/>
          </a:prstGeom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ABBCE7CD-45B5-D0F9-90D6-7C9E7E55F66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950" y="784152"/>
            <a:ext cx="2504821" cy="969977"/>
          </a:xfrm>
          <a:prstGeom prst="rect">
            <a:avLst/>
          </a:prstGeom>
        </p:spPr>
      </p:pic>
      <p:pic>
        <p:nvPicPr>
          <p:cNvPr id="16" name="Afbeelding 15">
            <a:extLst>
              <a:ext uri="{FF2B5EF4-FFF2-40B4-BE49-F238E27FC236}">
                <a16:creationId xmlns:a16="http://schemas.microsoft.com/office/drawing/2014/main" id="{490E102A-6B37-2E52-5533-59DA049DF2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22" t="21082" r="10376" b="28531"/>
          <a:stretch/>
        </p:blipFill>
        <p:spPr>
          <a:xfrm>
            <a:off x="6048297" y="820587"/>
            <a:ext cx="2170373" cy="897107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A054E8EA-E709-613A-B2D8-6ED1FBF7544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450334" y="3227336"/>
            <a:ext cx="2129166" cy="351086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3C251BC3-2BB5-1039-A172-1A22B1003D8A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29950" y="2280523"/>
            <a:ext cx="2073633" cy="728286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BCA85889-C099-E75F-72AA-181C8BBDEC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rcRect l="1406" t="4682" r="5721" b="-4682"/>
          <a:stretch/>
        </p:blipFill>
        <p:spPr>
          <a:xfrm>
            <a:off x="9344659" y="2075898"/>
            <a:ext cx="2551707" cy="1016029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743EFAD9-377C-B668-EE96-E9AA8D5233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 t="26065" b="27381"/>
          <a:stretch/>
        </p:blipFill>
        <p:spPr>
          <a:xfrm>
            <a:off x="3315342" y="2027258"/>
            <a:ext cx="2367950" cy="728977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B7A03652-0A3B-7766-31BC-A26AFF3AE6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5849" t="31550" r="12060" b="29156"/>
          <a:stretch/>
        </p:blipFill>
        <p:spPr>
          <a:xfrm>
            <a:off x="9767200" y="2900749"/>
            <a:ext cx="2129166" cy="1019154"/>
          </a:xfrm>
          <a:prstGeom prst="rect">
            <a:avLst/>
          </a:prstGeom>
        </p:spPr>
      </p:pic>
      <p:pic>
        <p:nvPicPr>
          <p:cNvPr id="22" name="Afbeelding 21">
            <a:extLst>
              <a:ext uri="{FF2B5EF4-FFF2-40B4-BE49-F238E27FC236}">
                <a16:creationId xmlns:a16="http://schemas.microsoft.com/office/drawing/2014/main" id="{6E2F056C-031D-A514-7238-F08F39F47E4C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5051" y="2326514"/>
            <a:ext cx="2237850" cy="636321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A446CA01-7B21-C2D8-70C5-DA044E11A8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 t="21770" b="18760"/>
          <a:stretch/>
        </p:blipFill>
        <p:spPr>
          <a:xfrm>
            <a:off x="364574" y="3169061"/>
            <a:ext cx="2467348" cy="563082"/>
          </a:xfrm>
          <a:prstGeom prst="rect">
            <a:avLst/>
          </a:prstGeom>
        </p:spPr>
      </p:pic>
      <p:pic>
        <p:nvPicPr>
          <p:cNvPr id="24" name="Afbeelding 23">
            <a:extLst>
              <a:ext uri="{FF2B5EF4-FFF2-40B4-BE49-F238E27FC236}">
                <a16:creationId xmlns:a16="http://schemas.microsoft.com/office/drawing/2014/main" id="{5A428C06-0A9D-11EA-BF8C-64B777781527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494" y="4817084"/>
            <a:ext cx="1772923" cy="500553"/>
          </a:xfrm>
          <a:prstGeom prst="rect">
            <a:avLst/>
          </a:prstGeom>
        </p:spPr>
      </p:pic>
      <p:pic>
        <p:nvPicPr>
          <p:cNvPr id="25" name="Afbeelding 24">
            <a:extLst>
              <a:ext uri="{FF2B5EF4-FFF2-40B4-BE49-F238E27FC236}">
                <a16:creationId xmlns:a16="http://schemas.microsoft.com/office/drawing/2014/main" id="{E53A814B-344E-8BF6-87CB-FC5AC5F90E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092" b="30254"/>
          <a:stretch/>
        </p:blipFill>
        <p:spPr>
          <a:xfrm>
            <a:off x="7641541" y="4752353"/>
            <a:ext cx="2138585" cy="630014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D621666D-F7B6-233C-A5DF-68F47806D240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2999563" y="4738867"/>
            <a:ext cx="2067693" cy="656987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B0A411CD-1928-FB67-EB0B-E44248A497B5}"/>
              </a:ext>
            </a:extLst>
          </p:cNvPr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529950" y="4013317"/>
            <a:ext cx="1650907" cy="570939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AB8AF58F-9250-F4D6-75F0-1B1E04059805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756885" y="4064388"/>
            <a:ext cx="1907897" cy="468797"/>
          </a:xfrm>
          <a:prstGeom prst="rect">
            <a:avLst/>
          </a:prstGeom>
        </p:spPr>
      </p:pic>
      <p:pic>
        <p:nvPicPr>
          <p:cNvPr id="29" name="Afbeelding 28" descr="Afbeelding met tekst, teken&#10;&#10;Automatisch gegenereerde beschrijving">
            <a:extLst>
              <a:ext uri="{FF2B5EF4-FFF2-40B4-BE49-F238E27FC236}">
                <a16:creationId xmlns:a16="http://schemas.microsoft.com/office/drawing/2014/main" id="{A208C5DC-FFF4-E6CE-00BA-1BDDB5E13722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9563" y="3946479"/>
            <a:ext cx="1690071" cy="704614"/>
          </a:xfrm>
          <a:prstGeom prst="rect">
            <a:avLst/>
          </a:prstGeom>
        </p:spPr>
      </p:pic>
      <p:pic>
        <p:nvPicPr>
          <p:cNvPr id="30" name="Afbeelding 29" descr="Afbeelding met tekst, illustratie&#10;&#10;Automatisch gegenereerde beschrijving">
            <a:extLst>
              <a:ext uri="{FF2B5EF4-FFF2-40B4-BE49-F238E27FC236}">
                <a16:creationId xmlns:a16="http://schemas.microsoft.com/office/drawing/2014/main" id="{5205A613-4C57-9201-F3DF-91B83DACE433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9295" y="3978262"/>
            <a:ext cx="1812279" cy="605994"/>
          </a:xfrm>
          <a:prstGeom prst="rect">
            <a:avLst/>
          </a:prstGeom>
        </p:spPr>
      </p:pic>
      <p:pic>
        <p:nvPicPr>
          <p:cNvPr id="31" name="Afbeelding 30">
            <a:extLst>
              <a:ext uri="{FF2B5EF4-FFF2-40B4-BE49-F238E27FC236}">
                <a16:creationId xmlns:a16="http://schemas.microsoft.com/office/drawing/2014/main" id="{4D6187C2-EB2C-FD57-2C9B-08D3496A6298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4467" y="4751876"/>
            <a:ext cx="1261935" cy="630968"/>
          </a:xfrm>
          <a:prstGeom prst="rect">
            <a:avLst/>
          </a:prstGeom>
        </p:spPr>
      </p:pic>
      <p:pic>
        <p:nvPicPr>
          <p:cNvPr id="32" name="Afbeelding 31">
            <a:extLst>
              <a:ext uri="{FF2B5EF4-FFF2-40B4-BE49-F238E27FC236}">
                <a16:creationId xmlns:a16="http://schemas.microsoft.com/office/drawing/2014/main" id="{EAB7215C-8B03-2F6E-687F-44A36F7EDDE6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4018" y="5814558"/>
            <a:ext cx="1332348" cy="499631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78D3E332-6186-8137-D94F-5CCA7759ED04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7906046" y="5801011"/>
            <a:ext cx="1609574" cy="526725"/>
          </a:xfrm>
          <a:prstGeom prst="rect">
            <a:avLst/>
          </a:prstGeom>
        </p:spPr>
      </p:pic>
      <p:pic>
        <p:nvPicPr>
          <p:cNvPr id="34" name="Afbeelding 33">
            <a:extLst>
              <a:ext uri="{FF2B5EF4-FFF2-40B4-BE49-F238E27FC236}">
                <a16:creationId xmlns:a16="http://schemas.microsoft.com/office/drawing/2014/main" id="{EE4B188D-3B01-C3B3-678C-2CE8BAC98D09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654" y="5715271"/>
            <a:ext cx="1505561" cy="698204"/>
          </a:xfrm>
          <a:prstGeom prst="rect">
            <a:avLst/>
          </a:prstGeom>
        </p:spPr>
      </p:pic>
      <p:pic>
        <p:nvPicPr>
          <p:cNvPr id="35" name="Afbeelding 34" descr="Afbeelding met tekst, illustratie&#10;&#10;Automatisch gegenereerde beschrijving">
            <a:extLst>
              <a:ext uri="{FF2B5EF4-FFF2-40B4-BE49-F238E27FC236}">
                <a16:creationId xmlns:a16="http://schemas.microsoft.com/office/drawing/2014/main" id="{000E3ECB-B811-7AD6-BA7B-00D581B601D8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1922" y="5697086"/>
            <a:ext cx="2119130" cy="734575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48CBA419-D01C-5A06-E7C9-E3091DCAB6B2}"/>
              </a:ext>
            </a:extLst>
          </p:cNvPr>
          <p:cNvPicPr>
            <a:picLocks noChangeAspect="1"/>
          </p:cNvPicPr>
          <p:nvPr userDrawn="1"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529950" y="5810719"/>
            <a:ext cx="1870039" cy="507309"/>
          </a:xfrm>
          <a:prstGeom prst="rect">
            <a:avLst/>
          </a:prstGeom>
        </p:spPr>
      </p:pic>
      <p:cxnSp>
        <p:nvCxnSpPr>
          <p:cNvPr id="37" name="Rechte verbindingslijn 36">
            <a:extLst>
              <a:ext uri="{FF2B5EF4-FFF2-40B4-BE49-F238E27FC236}">
                <a16:creationId xmlns:a16="http://schemas.microsoft.com/office/drawing/2014/main" id="{155BF058-CED0-1AFD-E96E-99B8B7EEBEAD}"/>
              </a:ext>
            </a:extLst>
          </p:cNvPr>
          <p:cNvCxnSpPr>
            <a:cxnSpLocks/>
          </p:cNvCxnSpPr>
          <p:nvPr userDrawn="1"/>
        </p:nvCxnSpPr>
        <p:spPr>
          <a:xfrm>
            <a:off x="0" y="5436606"/>
            <a:ext cx="12192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Rechte verbindingslijn 37">
            <a:extLst>
              <a:ext uri="{FF2B5EF4-FFF2-40B4-BE49-F238E27FC236}">
                <a16:creationId xmlns:a16="http://schemas.microsoft.com/office/drawing/2014/main" id="{20490058-DAFB-6BE2-017B-FEAAE909E86F}"/>
              </a:ext>
            </a:extLst>
          </p:cNvPr>
          <p:cNvCxnSpPr/>
          <p:nvPr userDrawn="1"/>
        </p:nvCxnSpPr>
        <p:spPr>
          <a:xfrm>
            <a:off x="0" y="3812090"/>
            <a:ext cx="12192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chte verbindingslijn 38">
            <a:extLst>
              <a:ext uri="{FF2B5EF4-FFF2-40B4-BE49-F238E27FC236}">
                <a16:creationId xmlns:a16="http://schemas.microsoft.com/office/drawing/2014/main" id="{D93ED777-73ED-DA4F-07F8-871D63EC2FD1}"/>
              </a:ext>
            </a:extLst>
          </p:cNvPr>
          <p:cNvCxnSpPr/>
          <p:nvPr userDrawn="1"/>
        </p:nvCxnSpPr>
        <p:spPr>
          <a:xfrm>
            <a:off x="0" y="2049108"/>
            <a:ext cx="12192000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kstvak 39">
            <a:extLst>
              <a:ext uri="{FF2B5EF4-FFF2-40B4-BE49-F238E27FC236}">
                <a16:creationId xmlns:a16="http://schemas.microsoft.com/office/drawing/2014/main" id="{42886A9B-79B9-24B6-6EE9-A490D8886407}"/>
              </a:ext>
            </a:extLst>
          </p:cNvPr>
          <p:cNvSpPr txBox="1"/>
          <p:nvPr userDrawn="1"/>
        </p:nvSpPr>
        <p:spPr>
          <a:xfrm rot="16200000">
            <a:off x="-479565" y="1131717"/>
            <a:ext cx="14654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PLATINUM</a:t>
            </a:r>
            <a:endParaRPr lang="en-GB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41" name="Tekstvak 40">
            <a:extLst>
              <a:ext uri="{FF2B5EF4-FFF2-40B4-BE49-F238E27FC236}">
                <a16:creationId xmlns:a16="http://schemas.microsoft.com/office/drawing/2014/main" id="{4312FBA6-EF7A-0DC7-8FBE-4CB0CD253414}"/>
              </a:ext>
            </a:extLst>
          </p:cNvPr>
          <p:cNvSpPr txBox="1"/>
          <p:nvPr userDrawn="1"/>
        </p:nvSpPr>
        <p:spPr>
          <a:xfrm rot="16200000">
            <a:off x="-622407" y="2751859"/>
            <a:ext cx="1751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GOUD</a:t>
            </a:r>
            <a:endParaRPr lang="en-GB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42" name="Tekstvak 41">
            <a:extLst>
              <a:ext uri="{FF2B5EF4-FFF2-40B4-BE49-F238E27FC236}">
                <a16:creationId xmlns:a16="http://schemas.microsoft.com/office/drawing/2014/main" id="{2450D961-747E-208D-1D7B-DB2DF99A39E5}"/>
              </a:ext>
            </a:extLst>
          </p:cNvPr>
          <p:cNvSpPr txBox="1"/>
          <p:nvPr userDrawn="1"/>
        </p:nvSpPr>
        <p:spPr>
          <a:xfrm rot="16200000">
            <a:off x="-559101" y="4439682"/>
            <a:ext cx="162451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ZILVER</a:t>
            </a:r>
            <a:endParaRPr lang="en-GB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43" name="Tekstvak 42">
            <a:extLst>
              <a:ext uri="{FF2B5EF4-FFF2-40B4-BE49-F238E27FC236}">
                <a16:creationId xmlns:a16="http://schemas.microsoft.com/office/drawing/2014/main" id="{F7EEA52D-5CD9-4B44-4555-AECF0D1F4E4A}"/>
              </a:ext>
            </a:extLst>
          </p:cNvPr>
          <p:cNvSpPr txBox="1"/>
          <p:nvPr userDrawn="1"/>
        </p:nvSpPr>
        <p:spPr>
          <a:xfrm rot="16200000">
            <a:off x="-321892" y="5862348"/>
            <a:ext cx="11501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1200" dirty="0">
                <a:solidFill>
                  <a:schemeClr val="bg1">
                    <a:lumMod val="65000"/>
                  </a:schemeClr>
                </a:solidFill>
                <a:latin typeface="+mj-lt"/>
              </a:rPr>
              <a:t>COMMUNITY</a:t>
            </a:r>
            <a:endParaRPr lang="en-GB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44" name="Tekstvak 43">
            <a:extLst>
              <a:ext uri="{FF2B5EF4-FFF2-40B4-BE49-F238E27FC236}">
                <a16:creationId xmlns:a16="http://schemas.microsoft.com/office/drawing/2014/main" id="{162B4A89-3A68-37CA-A8A3-A5D47182208C}"/>
              </a:ext>
            </a:extLst>
          </p:cNvPr>
          <p:cNvSpPr txBox="1"/>
          <p:nvPr userDrawn="1"/>
        </p:nvSpPr>
        <p:spPr>
          <a:xfrm>
            <a:off x="529949" y="273520"/>
            <a:ext cx="97810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400" dirty="0">
                <a:solidFill>
                  <a:schemeClr val="accent1"/>
                </a:solidFill>
                <a:latin typeface="+mj-lt"/>
              </a:rPr>
              <a:t>De Power BI Gebruikersdagen worden mede mogelijk gemaakt door: </a:t>
            </a:r>
            <a:endParaRPr lang="en-GB" sz="2400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45" name="Picture 2" descr="Logo&#10;&#10;Description automatically generated">
            <a:extLst>
              <a:ext uri="{FF2B5EF4-FFF2-40B4-BE49-F238E27FC236}">
                <a16:creationId xmlns:a16="http://schemas.microsoft.com/office/drawing/2014/main" id="{974554CF-6ED3-4C02-C31A-06CA692E28AE}"/>
              </a:ext>
            </a:extLst>
          </p:cNvPr>
          <p:cNvPicPr>
            <a:picLocks noChangeAspect="1"/>
          </p:cNvPicPr>
          <p:nvPr userDrawn="1"/>
        </p:nvPicPr>
        <p:blipFill>
          <a:blip r:embed="rId39"/>
          <a:stretch>
            <a:fillRect/>
          </a:stretch>
        </p:blipFill>
        <p:spPr>
          <a:xfrm>
            <a:off x="3127717" y="2723068"/>
            <a:ext cx="2743200" cy="1015206"/>
          </a:xfrm>
          <a:prstGeom prst="rect">
            <a:avLst/>
          </a:prstGeom>
        </p:spPr>
      </p:pic>
      <p:pic>
        <p:nvPicPr>
          <p:cNvPr id="48" name="Afbeelding 47">
            <a:extLst>
              <a:ext uri="{FF2B5EF4-FFF2-40B4-BE49-F238E27FC236}">
                <a16:creationId xmlns:a16="http://schemas.microsoft.com/office/drawing/2014/main" id="{537A0058-5ACD-35B5-CAB6-ABACB0F64F41}"/>
              </a:ext>
            </a:extLst>
          </p:cNvPr>
          <p:cNvPicPr>
            <a:picLocks noChangeAspect="1"/>
          </p:cNvPicPr>
          <p:nvPr userDrawn="1"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5620" y="4018195"/>
            <a:ext cx="1560746" cy="542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328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eldi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99FD0F-1002-DAF1-F11B-8447D2288D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3998" y="1122363"/>
            <a:ext cx="9180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802B085-83E8-0262-A1F6-E3868EF64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3998" y="3602038"/>
            <a:ext cx="9180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7293C0-8170-6245-1CBE-ACCD0FA0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9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E6D5B6-8ED4-9FB1-2300-900005224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98AD632-609B-FE74-E40B-3588F7E9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D438FE0A-7733-36BE-E196-74E978138716}"/>
              </a:ext>
            </a:extLst>
          </p:cNvPr>
          <p:cNvGrpSpPr/>
          <p:nvPr userDrawn="1"/>
        </p:nvGrpSpPr>
        <p:grpSpPr>
          <a:xfrm rot="5400000">
            <a:off x="-3162300" y="3162300"/>
            <a:ext cx="6858000" cy="533400"/>
            <a:chOff x="581161" y="1449420"/>
            <a:chExt cx="11051985" cy="1777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9365B4F-9FC5-0D03-99E4-39221FE2D473}"/>
                </a:ext>
              </a:extLst>
            </p:cNvPr>
            <p:cNvSpPr/>
            <p:nvPr/>
          </p:nvSpPr>
          <p:spPr>
            <a:xfrm>
              <a:off x="581161" y="1449420"/>
              <a:ext cx="1748569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6A674D8-260F-33EF-4411-F4FD61B3C069}"/>
                </a:ext>
              </a:extLst>
            </p:cNvPr>
            <p:cNvSpPr/>
            <p:nvPr/>
          </p:nvSpPr>
          <p:spPr>
            <a:xfrm>
              <a:off x="2441844" y="1449420"/>
              <a:ext cx="1748569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4D4D124-CD86-8872-BE88-DB4A565A9529}"/>
                </a:ext>
              </a:extLst>
            </p:cNvPr>
            <p:cNvSpPr/>
            <p:nvPr/>
          </p:nvSpPr>
          <p:spPr>
            <a:xfrm>
              <a:off x="4302528" y="1449420"/>
              <a:ext cx="1748569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82604419-4235-33FD-6A53-2FC4D4651B97}"/>
                </a:ext>
              </a:extLst>
            </p:cNvPr>
            <p:cNvSpPr/>
            <p:nvPr/>
          </p:nvSpPr>
          <p:spPr>
            <a:xfrm>
              <a:off x="6163211" y="1449420"/>
              <a:ext cx="1748569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A5A19464-FE94-AA92-86D5-98A5F490F0DC}"/>
                </a:ext>
              </a:extLst>
            </p:cNvPr>
            <p:cNvSpPr/>
            <p:nvPr/>
          </p:nvSpPr>
          <p:spPr>
            <a:xfrm>
              <a:off x="8023895" y="1449420"/>
              <a:ext cx="1748569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41CCE16-02EA-B67B-4DD3-BFA9D6D3E8F9}"/>
                </a:ext>
              </a:extLst>
            </p:cNvPr>
            <p:cNvSpPr/>
            <p:nvPr/>
          </p:nvSpPr>
          <p:spPr>
            <a:xfrm>
              <a:off x="9884577" y="1449420"/>
              <a:ext cx="1748569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8" name="Afbeelding 7">
            <a:extLst>
              <a:ext uri="{FF2B5EF4-FFF2-40B4-BE49-F238E27FC236}">
                <a16:creationId xmlns:a16="http://schemas.microsoft.com/office/drawing/2014/main" id="{65EE5FF1-D5D9-808C-5EFB-FA480108DF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70" t="37157" r="32917" b="37130"/>
          <a:stretch/>
        </p:blipFill>
        <p:spPr>
          <a:xfrm>
            <a:off x="10169524" y="136525"/>
            <a:ext cx="1793875" cy="68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669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72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eldia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99FD0F-1002-DAF1-F11B-8447D2288D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740"/>
            <a:ext cx="9180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802B085-83E8-0262-A1F6-E3868EF64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80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7293C0-8170-6245-1CBE-ACCD0FA0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9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E6D5B6-8ED4-9FB1-2300-900005224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98AD632-609B-FE74-E40B-3588F7E9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90308" y="6407252"/>
            <a:ext cx="2743200" cy="365125"/>
          </a:xfrm>
        </p:spPr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D438FE0A-7733-36BE-E196-74E978138716}"/>
              </a:ext>
            </a:extLst>
          </p:cNvPr>
          <p:cNvGrpSpPr/>
          <p:nvPr userDrawn="1"/>
        </p:nvGrpSpPr>
        <p:grpSpPr>
          <a:xfrm rot="5400000">
            <a:off x="-3162300" y="3162300"/>
            <a:ext cx="6858000" cy="533400"/>
            <a:chOff x="581161" y="1449420"/>
            <a:chExt cx="11051985" cy="1777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9365B4F-9FC5-0D03-99E4-39221FE2D473}"/>
                </a:ext>
              </a:extLst>
            </p:cNvPr>
            <p:cNvSpPr/>
            <p:nvPr/>
          </p:nvSpPr>
          <p:spPr>
            <a:xfrm>
              <a:off x="581161" y="1449420"/>
              <a:ext cx="1748569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6A674D8-260F-33EF-4411-F4FD61B3C069}"/>
                </a:ext>
              </a:extLst>
            </p:cNvPr>
            <p:cNvSpPr/>
            <p:nvPr/>
          </p:nvSpPr>
          <p:spPr>
            <a:xfrm>
              <a:off x="2441844" y="1449420"/>
              <a:ext cx="1748569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4D4D124-CD86-8872-BE88-DB4A565A9529}"/>
                </a:ext>
              </a:extLst>
            </p:cNvPr>
            <p:cNvSpPr/>
            <p:nvPr/>
          </p:nvSpPr>
          <p:spPr>
            <a:xfrm>
              <a:off x="4302528" y="1449420"/>
              <a:ext cx="1748569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82604419-4235-33FD-6A53-2FC4D4651B97}"/>
                </a:ext>
              </a:extLst>
            </p:cNvPr>
            <p:cNvSpPr/>
            <p:nvPr/>
          </p:nvSpPr>
          <p:spPr>
            <a:xfrm>
              <a:off x="6163211" y="1449420"/>
              <a:ext cx="1748569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A5A19464-FE94-AA92-86D5-98A5F490F0DC}"/>
                </a:ext>
              </a:extLst>
            </p:cNvPr>
            <p:cNvSpPr/>
            <p:nvPr/>
          </p:nvSpPr>
          <p:spPr>
            <a:xfrm>
              <a:off x="8023895" y="1449420"/>
              <a:ext cx="1748569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41CCE16-02EA-B67B-4DD3-BFA9D6D3E8F9}"/>
                </a:ext>
              </a:extLst>
            </p:cNvPr>
            <p:cNvSpPr/>
            <p:nvPr/>
          </p:nvSpPr>
          <p:spPr>
            <a:xfrm>
              <a:off x="9884577" y="1449420"/>
              <a:ext cx="1748569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7" name="Afbeelding 6">
            <a:extLst>
              <a:ext uri="{FF2B5EF4-FFF2-40B4-BE49-F238E27FC236}">
                <a16:creationId xmlns:a16="http://schemas.microsoft.com/office/drawing/2014/main" id="{52D2B4BC-274C-3954-EA12-F813B8ECED2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70" t="37157" r="32917" b="37130"/>
          <a:stretch/>
        </p:blipFill>
        <p:spPr>
          <a:xfrm>
            <a:off x="10169524" y="136525"/>
            <a:ext cx="1793875" cy="68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537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0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99FD0F-1002-DAF1-F11B-8447D2288D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80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802B085-83E8-0262-A1F6-E3868EF64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80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7293C0-8170-6245-1CBE-ACCD0FA0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9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E6D5B6-8ED4-9FB1-2300-900005224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98AD632-609B-FE74-E40B-3588F7E9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D438FE0A-7733-36BE-E196-74E978138716}"/>
              </a:ext>
            </a:extLst>
          </p:cNvPr>
          <p:cNvGrpSpPr/>
          <p:nvPr userDrawn="1"/>
        </p:nvGrpSpPr>
        <p:grpSpPr>
          <a:xfrm rot="5400000">
            <a:off x="-3162300" y="3162300"/>
            <a:ext cx="6858000" cy="533400"/>
            <a:chOff x="581161" y="1449420"/>
            <a:chExt cx="11051985" cy="1777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9365B4F-9FC5-0D03-99E4-39221FE2D473}"/>
                </a:ext>
              </a:extLst>
            </p:cNvPr>
            <p:cNvSpPr/>
            <p:nvPr/>
          </p:nvSpPr>
          <p:spPr>
            <a:xfrm>
              <a:off x="581161" y="1449420"/>
              <a:ext cx="1748569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6A674D8-260F-33EF-4411-F4FD61B3C069}"/>
                </a:ext>
              </a:extLst>
            </p:cNvPr>
            <p:cNvSpPr/>
            <p:nvPr/>
          </p:nvSpPr>
          <p:spPr>
            <a:xfrm>
              <a:off x="2441844" y="1449420"/>
              <a:ext cx="1748569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4D4D124-CD86-8872-BE88-DB4A565A9529}"/>
                </a:ext>
              </a:extLst>
            </p:cNvPr>
            <p:cNvSpPr/>
            <p:nvPr/>
          </p:nvSpPr>
          <p:spPr>
            <a:xfrm>
              <a:off x="4302528" y="1449420"/>
              <a:ext cx="1748569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82604419-4235-33FD-6A53-2FC4D4651B97}"/>
                </a:ext>
              </a:extLst>
            </p:cNvPr>
            <p:cNvSpPr/>
            <p:nvPr/>
          </p:nvSpPr>
          <p:spPr>
            <a:xfrm>
              <a:off x="6163211" y="1449420"/>
              <a:ext cx="1748569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A5A19464-FE94-AA92-86D5-98A5F490F0DC}"/>
                </a:ext>
              </a:extLst>
            </p:cNvPr>
            <p:cNvSpPr/>
            <p:nvPr/>
          </p:nvSpPr>
          <p:spPr>
            <a:xfrm>
              <a:off x="8023895" y="1449420"/>
              <a:ext cx="1748569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41CCE16-02EA-B67B-4DD3-BFA9D6D3E8F9}"/>
                </a:ext>
              </a:extLst>
            </p:cNvPr>
            <p:cNvSpPr/>
            <p:nvPr/>
          </p:nvSpPr>
          <p:spPr>
            <a:xfrm>
              <a:off x="9884577" y="1449420"/>
              <a:ext cx="1748569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7" name="Afbeelding 6">
            <a:extLst>
              <a:ext uri="{FF2B5EF4-FFF2-40B4-BE49-F238E27FC236}">
                <a16:creationId xmlns:a16="http://schemas.microsoft.com/office/drawing/2014/main" id="{F1ADC3A0-064B-5682-B96A-A8FFC520A6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70" t="37157" r="32917" b="37130"/>
          <a:stretch/>
        </p:blipFill>
        <p:spPr>
          <a:xfrm>
            <a:off x="10169524" y="136525"/>
            <a:ext cx="1793875" cy="68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8936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0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eldia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99FD0F-1002-DAF1-F11B-8447D2288D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80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802B085-83E8-0262-A1F6-E3868EF64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80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7293C0-8170-6245-1CBE-ACCD0FA0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9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E6D5B6-8ED4-9FB1-2300-900005224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98AD632-609B-FE74-E40B-3588F7E9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D438FE0A-7733-36BE-E196-74E978138716}"/>
              </a:ext>
            </a:extLst>
          </p:cNvPr>
          <p:cNvGrpSpPr/>
          <p:nvPr userDrawn="1"/>
        </p:nvGrpSpPr>
        <p:grpSpPr>
          <a:xfrm rot="5400000">
            <a:off x="-3162300" y="3162300"/>
            <a:ext cx="6858000" cy="533400"/>
            <a:chOff x="581161" y="1449420"/>
            <a:chExt cx="11051985" cy="1777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9365B4F-9FC5-0D03-99E4-39221FE2D473}"/>
                </a:ext>
              </a:extLst>
            </p:cNvPr>
            <p:cNvSpPr/>
            <p:nvPr/>
          </p:nvSpPr>
          <p:spPr>
            <a:xfrm>
              <a:off x="581161" y="1449420"/>
              <a:ext cx="1748569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6A674D8-260F-33EF-4411-F4FD61B3C069}"/>
                </a:ext>
              </a:extLst>
            </p:cNvPr>
            <p:cNvSpPr/>
            <p:nvPr/>
          </p:nvSpPr>
          <p:spPr>
            <a:xfrm>
              <a:off x="2441844" y="1449420"/>
              <a:ext cx="1748569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4D4D124-CD86-8872-BE88-DB4A565A9529}"/>
                </a:ext>
              </a:extLst>
            </p:cNvPr>
            <p:cNvSpPr/>
            <p:nvPr/>
          </p:nvSpPr>
          <p:spPr>
            <a:xfrm>
              <a:off x="4302528" y="1449420"/>
              <a:ext cx="1748569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82604419-4235-33FD-6A53-2FC4D4651B97}"/>
                </a:ext>
              </a:extLst>
            </p:cNvPr>
            <p:cNvSpPr/>
            <p:nvPr/>
          </p:nvSpPr>
          <p:spPr>
            <a:xfrm>
              <a:off x="6163211" y="1449420"/>
              <a:ext cx="1748569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A5A19464-FE94-AA92-86D5-98A5F490F0DC}"/>
                </a:ext>
              </a:extLst>
            </p:cNvPr>
            <p:cNvSpPr/>
            <p:nvPr/>
          </p:nvSpPr>
          <p:spPr>
            <a:xfrm>
              <a:off x="8023895" y="1449420"/>
              <a:ext cx="1748569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41CCE16-02EA-B67B-4DD3-BFA9D6D3E8F9}"/>
                </a:ext>
              </a:extLst>
            </p:cNvPr>
            <p:cNvSpPr/>
            <p:nvPr/>
          </p:nvSpPr>
          <p:spPr>
            <a:xfrm>
              <a:off x="9884577" y="1449420"/>
              <a:ext cx="1748569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7" name="Afbeelding 6">
            <a:extLst>
              <a:ext uri="{FF2B5EF4-FFF2-40B4-BE49-F238E27FC236}">
                <a16:creationId xmlns:a16="http://schemas.microsoft.com/office/drawing/2014/main" id="{4F82B8CE-9EC6-784E-6559-D4D6A5C10F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70" t="37157" r="32917" b="37130"/>
          <a:stretch/>
        </p:blipFill>
        <p:spPr>
          <a:xfrm>
            <a:off x="10169524" y="136525"/>
            <a:ext cx="1793875" cy="68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318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08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5_Titeldi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99FD0F-1002-DAF1-F11B-8447D2288D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80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802B085-83E8-0262-A1F6-E3868EF64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80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7293C0-8170-6245-1CBE-ACCD0FA0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9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E6D5B6-8ED4-9FB1-2300-900005224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98AD632-609B-FE74-E40B-3588F7E9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D438FE0A-7733-36BE-E196-74E978138716}"/>
              </a:ext>
            </a:extLst>
          </p:cNvPr>
          <p:cNvGrpSpPr/>
          <p:nvPr userDrawn="1"/>
        </p:nvGrpSpPr>
        <p:grpSpPr>
          <a:xfrm rot="5400000">
            <a:off x="-3162300" y="3162300"/>
            <a:ext cx="6858000" cy="533400"/>
            <a:chOff x="581161" y="1449420"/>
            <a:chExt cx="11051985" cy="1777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9365B4F-9FC5-0D03-99E4-39221FE2D473}"/>
                </a:ext>
              </a:extLst>
            </p:cNvPr>
            <p:cNvSpPr/>
            <p:nvPr/>
          </p:nvSpPr>
          <p:spPr>
            <a:xfrm>
              <a:off x="581161" y="1449420"/>
              <a:ext cx="1748569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6A674D8-260F-33EF-4411-F4FD61B3C069}"/>
                </a:ext>
              </a:extLst>
            </p:cNvPr>
            <p:cNvSpPr/>
            <p:nvPr/>
          </p:nvSpPr>
          <p:spPr>
            <a:xfrm>
              <a:off x="2441844" y="1449420"/>
              <a:ext cx="1748569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4D4D124-CD86-8872-BE88-DB4A565A9529}"/>
                </a:ext>
              </a:extLst>
            </p:cNvPr>
            <p:cNvSpPr/>
            <p:nvPr/>
          </p:nvSpPr>
          <p:spPr>
            <a:xfrm>
              <a:off x="4302528" y="1449420"/>
              <a:ext cx="1748569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82604419-4235-33FD-6A53-2FC4D4651B97}"/>
                </a:ext>
              </a:extLst>
            </p:cNvPr>
            <p:cNvSpPr/>
            <p:nvPr/>
          </p:nvSpPr>
          <p:spPr>
            <a:xfrm>
              <a:off x="6163211" y="1449420"/>
              <a:ext cx="1748569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A5A19464-FE94-AA92-86D5-98A5F490F0DC}"/>
                </a:ext>
              </a:extLst>
            </p:cNvPr>
            <p:cNvSpPr/>
            <p:nvPr/>
          </p:nvSpPr>
          <p:spPr>
            <a:xfrm>
              <a:off x="8023895" y="1449420"/>
              <a:ext cx="1748569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41CCE16-02EA-B67B-4DD3-BFA9D6D3E8F9}"/>
                </a:ext>
              </a:extLst>
            </p:cNvPr>
            <p:cNvSpPr/>
            <p:nvPr/>
          </p:nvSpPr>
          <p:spPr>
            <a:xfrm>
              <a:off x="9884577" y="1449420"/>
              <a:ext cx="1748569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7" name="Afbeelding 6">
            <a:extLst>
              <a:ext uri="{FF2B5EF4-FFF2-40B4-BE49-F238E27FC236}">
                <a16:creationId xmlns:a16="http://schemas.microsoft.com/office/drawing/2014/main" id="{DD3E4BC8-95F7-B5B2-FEA9-35FFD198BB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70" t="37157" r="32917" b="37130"/>
          <a:stretch/>
        </p:blipFill>
        <p:spPr>
          <a:xfrm>
            <a:off x="10169524" y="136525"/>
            <a:ext cx="1793875" cy="68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479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0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eldia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999FD0F-1002-DAF1-F11B-8447D2288D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80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A802B085-83E8-0262-A1F6-E3868EF64F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80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E7293C0-8170-6245-1CBE-ACCD0FA0CE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9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9E6D5B6-8ED4-9FB1-2300-900005224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98AD632-609B-FE74-E40B-3588F7E97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D438FE0A-7733-36BE-E196-74E978138716}"/>
              </a:ext>
            </a:extLst>
          </p:cNvPr>
          <p:cNvGrpSpPr/>
          <p:nvPr userDrawn="1"/>
        </p:nvGrpSpPr>
        <p:grpSpPr>
          <a:xfrm rot="5400000">
            <a:off x="-3162300" y="3162300"/>
            <a:ext cx="6858000" cy="533400"/>
            <a:chOff x="581161" y="1449420"/>
            <a:chExt cx="11051985" cy="17772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99365B4F-9FC5-0D03-99E4-39221FE2D473}"/>
                </a:ext>
              </a:extLst>
            </p:cNvPr>
            <p:cNvSpPr/>
            <p:nvPr/>
          </p:nvSpPr>
          <p:spPr>
            <a:xfrm>
              <a:off x="581161" y="1449420"/>
              <a:ext cx="1748569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E6A674D8-260F-33EF-4411-F4FD61B3C069}"/>
                </a:ext>
              </a:extLst>
            </p:cNvPr>
            <p:cNvSpPr/>
            <p:nvPr/>
          </p:nvSpPr>
          <p:spPr>
            <a:xfrm>
              <a:off x="2441844" y="1449420"/>
              <a:ext cx="1748569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4D4D124-CD86-8872-BE88-DB4A565A9529}"/>
                </a:ext>
              </a:extLst>
            </p:cNvPr>
            <p:cNvSpPr/>
            <p:nvPr/>
          </p:nvSpPr>
          <p:spPr>
            <a:xfrm>
              <a:off x="4302528" y="1449420"/>
              <a:ext cx="1748569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82604419-4235-33FD-6A53-2FC4D4651B97}"/>
                </a:ext>
              </a:extLst>
            </p:cNvPr>
            <p:cNvSpPr/>
            <p:nvPr/>
          </p:nvSpPr>
          <p:spPr>
            <a:xfrm>
              <a:off x="6163211" y="1449420"/>
              <a:ext cx="1748569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A5A19464-FE94-AA92-86D5-98A5F490F0DC}"/>
                </a:ext>
              </a:extLst>
            </p:cNvPr>
            <p:cNvSpPr/>
            <p:nvPr/>
          </p:nvSpPr>
          <p:spPr>
            <a:xfrm>
              <a:off x="8023895" y="1449420"/>
              <a:ext cx="1748569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41CCE16-02EA-B67B-4DD3-BFA9D6D3E8F9}"/>
                </a:ext>
              </a:extLst>
            </p:cNvPr>
            <p:cNvSpPr/>
            <p:nvPr/>
          </p:nvSpPr>
          <p:spPr>
            <a:xfrm>
              <a:off x="9884577" y="1449420"/>
              <a:ext cx="1748569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7" name="Afbeelding 6">
            <a:extLst>
              <a:ext uri="{FF2B5EF4-FFF2-40B4-BE49-F238E27FC236}">
                <a16:creationId xmlns:a16="http://schemas.microsoft.com/office/drawing/2014/main" id="{B867C4A2-4C1E-F3B1-E5BC-6D8870A4D1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770" t="37157" r="32917" b="37130"/>
          <a:stretch/>
        </p:blipFill>
        <p:spPr>
          <a:xfrm>
            <a:off x="10169524" y="136525"/>
            <a:ext cx="1793875" cy="682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707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610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ECEEFF-40FE-8920-2ED5-6F0E5B50A9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31E6352-5E2F-ABEB-F331-8C49249DF7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1D570968-6530-FC97-EBDE-C8C11ABD9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9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998C2E96-CA06-098E-5823-FB8BF2C356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A57E08EA-0B33-CB66-9383-947173483A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F133F1FE-08DD-E2F9-85C7-51E69B42D7A7}"/>
              </a:ext>
            </a:extLst>
          </p:cNvPr>
          <p:cNvGrpSpPr/>
          <p:nvPr userDrawn="1"/>
        </p:nvGrpSpPr>
        <p:grpSpPr>
          <a:xfrm>
            <a:off x="0" y="6533963"/>
            <a:ext cx="12192000" cy="271516"/>
            <a:chOff x="581161" y="1449420"/>
            <a:chExt cx="11103416" cy="177729"/>
          </a:xfrm>
        </p:grpSpPr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id="{1D118310-8FB2-D493-7922-DDB85CD08992}"/>
                </a:ext>
              </a:extLst>
            </p:cNvPr>
            <p:cNvSpPr/>
            <p:nvPr/>
          </p:nvSpPr>
          <p:spPr>
            <a:xfrm>
              <a:off x="581161" y="1449420"/>
              <a:ext cx="1800000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EF7F0B93-98B8-F896-61D4-13681D3C1D53}"/>
                </a:ext>
              </a:extLst>
            </p:cNvPr>
            <p:cNvSpPr/>
            <p:nvPr/>
          </p:nvSpPr>
          <p:spPr>
            <a:xfrm>
              <a:off x="2441844" y="1449420"/>
              <a:ext cx="1800000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200D68CD-FD30-7945-BCBA-A388734EE238}"/>
                </a:ext>
              </a:extLst>
            </p:cNvPr>
            <p:cNvSpPr/>
            <p:nvPr/>
          </p:nvSpPr>
          <p:spPr>
            <a:xfrm>
              <a:off x="4302527" y="1449420"/>
              <a:ext cx="1800000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3C4999F-D885-A23E-CAF4-E5A098BC9C17}"/>
                </a:ext>
              </a:extLst>
            </p:cNvPr>
            <p:cNvSpPr/>
            <p:nvPr/>
          </p:nvSpPr>
          <p:spPr>
            <a:xfrm>
              <a:off x="6163210" y="1449420"/>
              <a:ext cx="1800000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4B4FA667-E9EE-0862-727B-65E7A7F98B6B}"/>
                </a:ext>
              </a:extLst>
            </p:cNvPr>
            <p:cNvSpPr/>
            <p:nvPr/>
          </p:nvSpPr>
          <p:spPr>
            <a:xfrm>
              <a:off x="8023893" y="1449420"/>
              <a:ext cx="1800000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11157D7C-AECF-1FDD-E114-67C53DB6CB2D}"/>
                </a:ext>
              </a:extLst>
            </p:cNvPr>
            <p:cNvSpPr/>
            <p:nvPr/>
          </p:nvSpPr>
          <p:spPr>
            <a:xfrm>
              <a:off x="9884577" y="1449420"/>
              <a:ext cx="1800000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15" name="Afbeelding 14">
            <a:extLst>
              <a:ext uri="{FF2B5EF4-FFF2-40B4-BE49-F238E27FC236}">
                <a16:creationId xmlns:a16="http://schemas.microsoft.com/office/drawing/2014/main" id="{CBEEADEB-3665-1132-1063-ABC903DB3B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049" y="61496"/>
            <a:ext cx="1793875" cy="801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91969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C10AC7-87C4-2061-E688-6A650D392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C94E05D-E781-D1CC-7B0D-B16BD241A62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D1DBC273-3286-8F11-A219-EBEC836B7D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C871FA1C-DA16-E58E-1CE5-966575C16E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F62D7-B557-4C8E-9A83-AE8C6E6C9F49}" type="datetimeFigureOut">
              <a:rPr lang="nl-NL" smtClean="0"/>
              <a:t>9-3-2024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34572DA-0C0D-ED0C-706E-D4C657FB63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3FF21103-A9FA-6AB5-2EEA-B9796ADA3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  <p:grpSp>
        <p:nvGrpSpPr>
          <p:cNvPr id="9" name="Groep 8">
            <a:extLst>
              <a:ext uri="{FF2B5EF4-FFF2-40B4-BE49-F238E27FC236}">
                <a16:creationId xmlns:a16="http://schemas.microsoft.com/office/drawing/2014/main" id="{E088AD72-DFF4-7296-6D06-91449521F0BE}"/>
              </a:ext>
            </a:extLst>
          </p:cNvPr>
          <p:cNvGrpSpPr/>
          <p:nvPr userDrawn="1"/>
        </p:nvGrpSpPr>
        <p:grpSpPr>
          <a:xfrm>
            <a:off x="0" y="6533963"/>
            <a:ext cx="12192000" cy="271516"/>
            <a:chOff x="581161" y="1449420"/>
            <a:chExt cx="11103416" cy="177729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89F53865-7BB2-2FD5-EB91-011F842A5B44}"/>
                </a:ext>
              </a:extLst>
            </p:cNvPr>
            <p:cNvSpPr/>
            <p:nvPr/>
          </p:nvSpPr>
          <p:spPr>
            <a:xfrm>
              <a:off x="581161" y="1449420"/>
              <a:ext cx="1800000" cy="177729"/>
            </a:xfrm>
            <a:prstGeom prst="rect">
              <a:avLst/>
            </a:prstGeom>
            <a:solidFill>
              <a:srgbClr val="B600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3FFBD7EA-9BBA-83AF-7535-F7CE213D89E1}"/>
                </a:ext>
              </a:extLst>
            </p:cNvPr>
            <p:cNvSpPr/>
            <p:nvPr/>
          </p:nvSpPr>
          <p:spPr>
            <a:xfrm>
              <a:off x="2441844" y="1449420"/>
              <a:ext cx="1800000" cy="177729"/>
            </a:xfrm>
            <a:prstGeom prst="rect">
              <a:avLst/>
            </a:prstGeom>
            <a:solidFill>
              <a:srgbClr val="C94F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3E3C1094-85A5-98B1-DD56-B629D67CFA93}"/>
                </a:ext>
              </a:extLst>
            </p:cNvPr>
            <p:cNvSpPr/>
            <p:nvPr/>
          </p:nvSpPr>
          <p:spPr>
            <a:xfrm>
              <a:off x="4302527" y="1449420"/>
              <a:ext cx="1800000" cy="177729"/>
            </a:xfrm>
            <a:prstGeom prst="rect">
              <a:avLst/>
            </a:prstGeom>
            <a:solidFill>
              <a:srgbClr val="F2C81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32C6A5D2-6A9F-7E19-0D2D-4A773D458221}"/>
                </a:ext>
              </a:extLst>
            </p:cNvPr>
            <p:cNvSpPr/>
            <p:nvPr/>
          </p:nvSpPr>
          <p:spPr>
            <a:xfrm>
              <a:off x="6163210" y="1449420"/>
              <a:ext cx="1800000" cy="177729"/>
            </a:xfrm>
            <a:prstGeom prst="rect">
              <a:avLst/>
            </a:prstGeom>
            <a:solidFill>
              <a:srgbClr val="4668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590F2FD0-3DB7-E5B7-73F0-E7B9547FF5A6}"/>
                </a:ext>
              </a:extLst>
            </p:cNvPr>
            <p:cNvSpPr/>
            <p:nvPr/>
          </p:nvSpPr>
          <p:spPr>
            <a:xfrm>
              <a:off x="8023893" y="1449420"/>
              <a:ext cx="1800000" cy="177729"/>
            </a:xfrm>
            <a:prstGeom prst="rect">
              <a:avLst/>
            </a:prstGeom>
            <a:solidFill>
              <a:srgbClr val="1972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8FFF662A-9155-11EA-61C7-1341DB4BEFDC}"/>
                </a:ext>
              </a:extLst>
            </p:cNvPr>
            <p:cNvSpPr/>
            <p:nvPr/>
          </p:nvSpPr>
          <p:spPr>
            <a:xfrm>
              <a:off x="9884577" y="1449420"/>
              <a:ext cx="1800000" cy="177729"/>
            </a:xfrm>
            <a:prstGeom prst="rect">
              <a:avLst/>
            </a:prstGeom>
            <a:solidFill>
              <a:srgbClr val="1223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dirty="0"/>
            </a:p>
          </p:txBody>
        </p:sp>
      </p:grpSp>
      <p:pic>
        <p:nvPicPr>
          <p:cNvPr id="16" name="Afbeelding 15">
            <a:extLst>
              <a:ext uri="{FF2B5EF4-FFF2-40B4-BE49-F238E27FC236}">
                <a16:creationId xmlns:a16="http://schemas.microsoft.com/office/drawing/2014/main" id="{E3FAF074-B740-5FEB-3DC3-109A97D4D3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049" y="61496"/>
            <a:ext cx="1793875" cy="8012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621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09C808C-1099-2B58-0FCC-BE7EC7FE9C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542107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04" imgH="405" progId="TCLayout.ActiveDocument.1">
                  <p:embed/>
                </p:oleObj>
              </mc:Choice>
              <mc:Fallback>
                <p:oleObj name="think-cell Slide" r:id="rId16" imgW="404" imgH="405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09C808C-1099-2B58-0FCC-BE7EC7FE9C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205EAE9A-804E-34D7-4C5B-C7A082CE16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560B0F71-BC42-56D2-E4AA-F0A450A8C0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528E223F-B356-696C-3276-AEFB88CDF36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EF62D7-B557-4C8E-9A83-AE8C6E6C9F49}" type="datetimeFigureOut">
              <a:rPr lang="nl-NL" smtClean="0"/>
              <a:t>9-3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8055172-E1F6-5980-EE63-1533ED2B64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D20D5524-A2A2-B381-80E5-415D2967BB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4AF4CE-795C-4D2C-B113-CB22DE540E51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892467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50" r:id="rId8"/>
    <p:sldLayoutId id="2147483652" r:id="rId9"/>
    <p:sldLayoutId id="2147483653" r:id="rId10"/>
    <p:sldLayoutId id="2147483654" r:id="rId11"/>
    <p:sldLayoutId id="2147483655" r:id="rId12"/>
    <p:sldLayoutId id="2147483662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43.svg"/><Relationship Id="rId5" Type="http://schemas.openxmlformats.org/officeDocument/2006/relationships/image" Target="../media/image4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4.xml"/><Relationship Id="rId5" Type="http://schemas.openxmlformats.org/officeDocument/2006/relationships/image" Target="../media/image62.jpe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sv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81.svg"/><Relationship Id="rId4" Type="http://schemas.openxmlformats.org/officeDocument/2006/relationships/image" Target="../media/image80.pn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0.png"/><Relationship Id="rId18" Type="http://schemas.openxmlformats.org/officeDocument/2006/relationships/image" Target="../media/image52.png"/><Relationship Id="rId26" Type="http://schemas.openxmlformats.org/officeDocument/2006/relationships/image" Target="../media/image55.png"/><Relationship Id="rId39" Type="http://schemas.openxmlformats.org/officeDocument/2006/relationships/image" Target="../media/image36.png"/><Relationship Id="rId21" Type="http://schemas.openxmlformats.org/officeDocument/2006/relationships/image" Target="../media/image41.png"/><Relationship Id="rId34" Type="http://schemas.openxmlformats.org/officeDocument/2006/relationships/image" Target="../media/image61.jpg"/><Relationship Id="rId42" Type="http://schemas.openxmlformats.org/officeDocument/2006/relationships/image" Target="../media/image29.svg"/><Relationship Id="rId7" Type="http://schemas.openxmlformats.org/officeDocument/2006/relationships/image" Target="../media/image47.svg"/><Relationship Id="rId2" Type="http://schemas.openxmlformats.org/officeDocument/2006/relationships/image" Target="../media/image20.png"/><Relationship Id="rId16" Type="http://schemas.openxmlformats.org/officeDocument/2006/relationships/image" Target="../media/image50.png"/><Relationship Id="rId20" Type="http://schemas.openxmlformats.org/officeDocument/2006/relationships/image" Target="../media/image54.png"/><Relationship Id="rId29" Type="http://schemas.openxmlformats.org/officeDocument/2006/relationships/image" Target="../media/image16.svg"/><Relationship Id="rId41" Type="http://schemas.openxmlformats.org/officeDocument/2006/relationships/image" Target="../media/image28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6.png"/><Relationship Id="rId11" Type="http://schemas.openxmlformats.org/officeDocument/2006/relationships/image" Target="../media/image13.png"/><Relationship Id="rId24" Type="http://schemas.openxmlformats.org/officeDocument/2006/relationships/image" Target="../media/image23.png"/><Relationship Id="rId32" Type="http://schemas.openxmlformats.org/officeDocument/2006/relationships/image" Target="../media/image59.png"/><Relationship Id="rId37" Type="http://schemas.openxmlformats.org/officeDocument/2006/relationships/image" Target="../media/image35.svg"/><Relationship Id="rId40" Type="http://schemas.openxmlformats.org/officeDocument/2006/relationships/image" Target="../media/image6.png"/><Relationship Id="rId5" Type="http://schemas.openxmlformats.org/officeDocument/2006/relationships/image" Target="../media/image45.svg"/><Relationship Id="rId15" Type="http://schemas.openxmlformats.org/officeDocument/2006/relationships/image" Target="../media/image18.svg"/><Relationship Id="rId23" Type="http://schemas.openxmlformats.org/officeDocument/2006/relationships/image" Target="../media/image25.svg"/><Relationship Id="rId28" Type="http://schemas.openxmlformats.org/officeDocument/2006/relationships/image" Target="../media/image15.png"/><Relationship Id="rId36" Type="http://schemas.openxmlformats.org/officeDocument/2006/relationships/image" Target="../media/image34.png"/><Relationship Id="rId10" Type="http://schemas.openxmlformats.org/officeDocument/2006/relationships/image" Target="../media/image19.png"/><Relationship Id="rId19" Type="http://schemas.openxmlformats.org/officeDocument/2006/relationships/image" Target="../media/image53.jpg"/><Relationship Id="rId31" Type="http://schemas.openxmlformats.org/officeDocument/2006/relationships/image" Target="../media/image58.svg"/><Relationship Id="rId4" Type="http://schemas.openxmlformats.org/officeDocument/2006/relationships/image" Target="../media/image44.png"/><Relationship Id="rId9" Type="http://schemas.openxmlformats.org/officeDocument/2006/relationships/image" Target="../media/image49.svg"/><Relationship Id="rId14" Type="http://schemas.openxmlformats.org/officeDocument/2006/relationships/image" Target="../media/image17.png"/><Relationship Id="rId22" Type="http://schemas.openxmlformats.org/officeDocument/2006/relationships/image" Target="../media/image24.png"/><Relationship Id="rId27" Type="http://schemas.openxmlformats.org/officeDocument/2006/relationships/image" Target="../media/image56.png"/><Relationship Id="rId30" Type="http://schemas.openxmlformats.org/officeDocument/2006/relationships/image" Target="../media/image57.png"/><Relationship Id="rId35" Type="http://schemas.openxmlformats.org/officeDocument/2006/relationships/image" Target="../media/image33.jpg"/><Relationship Id="rId8" Type="http://schemas.openxmlformats.org/officeDocument/2006/relationships/image" Target="../media/image48.png"/><Relationship Id="rId3" Type="http://schemas.openxmlformats.org/officeDocument/2006/relationships/image" Target="../media/image21.svg"/><Relationship Id="rId12" Type="http://schemas.openxmlformats.org/officeDocument/2006/relationships/image" Target="../media/image14.svg"/><Relationship Id="rId17" Type="http://schemas.openxmlformats.org/officeDocument/2006/relationships/image" Target="../media/image51.svg"/><Relationship Id="rId25" Type="http://schemas.openxmlformats.org/officeDocument/2006/relationships/image" Target="../media/image8.png"/><Relationship Id="rId33" Type="http://schemas.openxmlformats.org/officeDocument/2006/relationships/image" Target="../media/image60.svg"/><Relationship Id="rId38" Type="http://schemas.openxmlformats.org/officeDocument/2006/relationships/image" Target="../media/image37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svg"/><Relationship Id="rId13" Type="http://schemas.openxmlformats.org/officeDocument/2006/relationships/image" Target="../media/image70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64.png"/><Relationship Id="rId12" Type="http://schemas.openxmlformats.org/officeDocument/2006/relationships/image" Target="../media/image69.svg"/><Relationship Id="rId2" Type="http://schemas.openxmlformats.org/officeDocument/2006/relationships/slideLayout" Target="../slideLayouts/slideLayout8.xml"/><Relationship Id="rId16" Type="http://schemas.openxmlformats.org/officeDocument/2006/relationships/image" Target="../media/image73.svg"/><Relationship Id="rId1" Type="http://schemas.openxmlformats.org/officeDocument/2006/relationships/tags" Target="../tags/tag4.xml"/><Relationship Id="rId6" Type="http://schemas.openxmlformats.org/officeDocument/2006/relationships/image" Target="../media/image63.emf"/><Relationship Id="rId11" Type="http://schemas.openxmlformats.org/officeDocument/2006/relationships/image" Target="../media/image68.png"/><Relationship Id="rId5" Type="http://schemas.openxmlformats.org/officeDocument/2006/relationships/image" Target="../media/image62.jpeg"/><Relationship Id="rId15" Type="http://schemas.openxmlformats.org/officeDocument/2006/relationships/image" Target="../media/image72.png"/><Relationship Id="rId10" Type="http://schemas.openxmlformats.org/officeDocument/2006/relationships/image" Target="../media/image67.svg"/><Relationship Id="rId4" Type="http://schemas.openxmlformats.org/officeDocument/2006/relationships/image" Target="../media/image1.emf"/><Relationship Id="rId9" Type="http://schemas.openxmlformats.org/officeDocument/2006/relationships/image" Target="../media/image66.png"/><Relationship Id="rId14" Type="http://schemas.openxmlformats.org/officeDocument/2006/relationships/image" Target="../media/image71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80EFA2C-BDC4-E596-AF8C-F4FABED73A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206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0EFA2C-BDC4-E596-AF8C-F4FABED73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27087007-5F2C-A7B2-FEF1-DFE6D76528D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nl-NL" dirty="0" err="1"/>
              <a:t>Elevate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art of </a:t>
            </a:r>
            <a:r>
              <a:rPr lang="nl-NL" dirty="0" err="1"/>
              <a:t>possible</a:t>
            </a:r>
            <a:r>
              <a:rPr lang="nl-NL" dirty="0"/>
              <a:t> </a:t>
            </a:r>
            <a:r>
              <a:rPr lang="nl-NL" dirty="0" err="1"/>
              <a:t>with</a:t>
            </a:r>
            <a:r>
              <a:rPr lang="nl-NL" dirty="0"/>
              <a:t> </a:t>
            </a:r>
            <a:r>
              <a:rPr lang="nl-NL" dirty="0" err="1"/>
              <a:t>the</a:t>
            </a:r>
            <a:r>
              <a:rPr lang="nl-NL" dirty="0"/>
              <a:t> new card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slicer</a:t>
            </a:r>
            <a:r>
              <a:rPr lang="nl-NL" dirty="0"/>
              <a:t> </a:t>
            </a:r>
            <a:r>
              <a:rPr lang="nl-NL" dirty="0" err="1"/>
              <a:t>visuals</a:t>
            </a:r>
            <a:endParaRPr lang="nl-NL" dirty="0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B687B94E-33A6-3943-016E-D0856839D2C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l-NL" dirty="0"/>
              <a:t>Grzegorz (Greg) Strzymiński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1901AF4E-3C91-4C6C-B830-37697ABA79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712761" y="2715193"/>
            <a:ext cx="4680000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5767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DA710BE-A89D-75E7-D857-26C63EF788A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8408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A710BE-A89D-75E7-D857-26C63EF788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/>
              <a:t>Live </a:t>
            </a:r>
            <a:r>
              <a:rPr lang="nl-NL" dirty="0" err="1"/>
              <a:t>demos</a:t>
            </a:r>
            <a:endParaRPr lang="nl-NL" dirty="0"/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16F62582-09FB-82DE-EE84-0E928DE920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842812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l-NL" sz="2000" dirty="0" err="1"/>
              <a:t>Let’s</a:t>
            </a:r>
            <a:r>
              <a:rPr lang="nl-NL" sz="2000" dirty="0"/>
              <a:t> </a:t>
            </a:r>
            <a:r>
              <a:rPr lang="nl-NL" sz="2000" dirty="0" err="1"/>
              <a:t>see</a:t>
            </a:r>
            <a:r>
              <a:rPr lang="nl-NL" sz="2000" dirty="0"/>
              <a:t> </a:t>
            </a:r>
            <a:r>
              <a:rPr lang="nl-NL" sz="2000" dirty="0" err="1"/>
              <a:t>some</a:t>
            </a:r>
            <a:r>
              <a:rPr lang="nl-NL" sz="2000" dirty="0"/>
              <a:t> live </a:t>
            </a:r>
            <a:r>
              <a:rPr lang="nl-NL" sz="2000" dirty="0" err="1"/>
              <a:t>examples</a:t>
            </a:r>
            <a:r>
              <a:rPr lang="nl-NL" sz="2000" dirty="0"/>
              <a:t> in Power BI</a:t>
            </a:r>
          </a:p>
        </p:txBody>
      </p:sp>
    </p:spTree>
    <p:extLst>
      <p:ext uri="{BB962C8B-B14F-4D97-AF65-F5344CB8AC3E}">
        <p14:creationId xmlns:p14="http://schemas.microsoft.com/office/powerpoint/2010/main" val="25201001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AA4518F-B2B0-8138-55D5-AFC0ECFED5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1911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A4518F-B2B0-8138-55D5-AFC0ECFED5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 err="1"/>
              <a:t>Key</a:t>
            </a:r>
            <a:r>
              <a:rPr lang="nl-NL" dirty="0"/>
              <a:t> </a:t>
            </a:r>
            <a:r>
              <a:rPr lang="nl-NL" dirty="0" err="1"/>
              <a:t>takeaways</a:t>
            </a:r>
            <a:endParaRPr lang="nl-NL" dirty="0"/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16F62582-09FB-82DE-EE84-0E928DE920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842812" cy="4351338"/>
          </a:xfrm>
        </p:spPr>
        <p:txBody>
          <a:bodyPr>
            <a:noAutofit/>
          </a:bodyPr>
          <a:lstStyle/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GB" sz="2000" dirty="0">
                <a:solidFill>
                  <a:srgbClr val="000000"/>
                </a:solidFill>
              </a:rPr>
              <a:t>New card and button slicer visuals offer a great degree of customizability and a number of interesting features.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GB" sz="2000" dirty="0">
                <a:solidFill>
                  <a:srgbClr val="000000"/>
                </a:solidFill>
              </a:rPr>
              <a:t>You should choose the new visuals over the older ones whenever you need a more fancy design over the basic one.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GB" sz="2000" dirty="0">
                <a:solidFill>
                  <a:srgbClr val="000000"/>
                </a:solidFill>
              </a:rPr>
              <a:t>Definitely go for the new card visual if you can consolidate some visual elements using it. The performance of your report will be better.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GB" sz="2000" dirty="0">
                <a:solidFill>
                  <a:srgbClr val="000000"/>
                </a:solidFill>
              </a:rPr>
              <a:t>New card and slicer visuals are fully reusable of course. Use copy &amp; paste and you can reuse them with another dimension.</a:t>
            </a: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r>
              <a:rPr lang="en-GB" sz="2000" dirty="0">
                <a:solidFill>
                  <a:srgbClr val="000000"/>
                </a:solidFill>
              </a:rPr>
              <a:t>Both the new slicer and card visuals are in preview – some bugs are just expected.</a:t>
            </a:r>
            <a:endParaRPr lang="en-GB" sz="1800" dirty="0">
              <a:solidFill>
                <a:srgbClr val="000000"/>
              </a:solidFill>
            </a:endParaRPr>
          </a:p>
          <a:p>
            <a:pPr marL="457200" indent="-457200">
              <a:lnSpc>
                <a:spcPct val="100000"/>
              </a:lnSpc>
              <a:buFont typeface="+mj-lt"/>
              <a:buAutoNum type="arabicPeriod"/>
            </a:pPr>
            <a:endParaRPr lang="nl-NL" sz="1800" dirty="0"/>
          </a:p>
        </p:txBody>
      </p:sp>
    </p:spTree>
    <p:extLst>
      <p:ext uri="{BB962C8B-B14F-4D97-AF65-F5344CB8AC3E}">
        <p14:creationId xmlns:p14="http://schemas.microsoft.com/office/powerpoint/2010/main" val="16507127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178A0FA-A02D-E816-61CE-77FFE47D91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0449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8A0FA-A02D-E816-61CE-77FFE47D91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23090302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7178A0FA-A02D-E816-61CE-77FFE47D91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1173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78A0FA-A02D-E816-61CE-77FFE47D91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 err="1"/>
              <a:t>Thank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!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E02816A-6CFA-3A18-F194-E49C2D4D141C}"/>
              </a:ext>
            </a:extLst>
          </p:cNvPr>
          <p:cNvSpPr txBox="1">
            <a:spLocks/>
          </p:cNvSpPr>
          <p:nvPr/>
        </p:nvSpPr>
        <p:spPr bwMode="gray">
          <a:xfrm>
            <a:off x="3289300" y="2224026"/>
            <a:ext cx="6005620" cy="207276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tabLst/>
              <a:defRPr lang="en-US" sz="1100" b="1" kern="1200" noProof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tabLst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l-PL" sz="20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Grzegorz Strzymiński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  <a:p>
            <a: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https://www.linkedin.com/in/grzegorz-strzyminski/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l-PL" sz="2000" b="1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pl-PL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ea typeface="+mn-ea"/>
                <a:cs typeface="+mn-cs"/>
              </a:rPr>
              <a:t>grzegorz.strzyminski@kearney.com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7" name="Picture Placeholder 12" descr="A person in a suit&#10;&#10;Description automatically generated">
            <a:extLst>
              <a:ext uri="{FF2B5EF4-FFF2-40B4-BE49-F238E27FC236}">
                <a16:creationId xmlns:a16="http://schemas.microsoft.com/office/drawing/2014/main" id="{0DFEF9ED-46FF-DDDC-6D20-2534F275868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0" t="3414" r="11162" b="26127"/>
          <a:stretch/>
        </p:blipFill>
        <p:spPr>
          <a:xfrm>
            <a:off x="948579" y="2224026"/>
            <a:ext cx="1803497" cy="231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7260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826FE342-87B7-A648-C038-40C65EFCF6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611" y="1332706"/>
            <a:ext cx="5257800" cy="1325563"/>
          </a:xfrm>
        </p:spPr>
        <p:txBody>
          <a:bodyPr/>
          <a:lstStyle/>
          <a:p>
            <a:pPr algn="ctr"/>
            <a:r>
              <a:rPr lang="nl-NL" dirty="0" err="1"/>
              <a:t>Session</a:t>
            </a:r>
            <a:r>
              <a:rPr lang="nl-NL" dirty="0"/>
              <a:t> </a:t>
            </a:r>
            <a:r>
              <a:rPr lang="nl-NL" dirty="0" err="1"/>
              <a:t>evaluation</a:t>
            </a:r>
            <a:endParaRPr lang="nl-NL" dirty="0"/>
          </a:p>
        </p:txBody>
      </p:sp>
      <p:pic>
        <p:nvPicPr>
          <p:cNvPr id="3" name="Tijdelijke aanduiding voor inhoud 2">
            <a:extLst>
              <a:ext uri="{FF2B5EF4-FFF2-40B4-BE49-F238E27FC236}">
                <a16:creationId xmlns:a16="http://schemas.microsoft.com/office/drawing/2014/main" id="{D9811995-11BE-4A5F-1BA1-C77131ECA1F4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608511" y="2477294"/>
            <a:ext cx="3048000" cy="3048000"/>
          </a:xfrm>
        </p:spPr>
      </p:pic>
      <p:pic>
        <p:nvPicPr>
          <p:cNvPr id="8" name="Tijdelijke aanduiding voor inhoud 7">
            <a:extLst>
              <a:ext uri="{FF2B5EF4-FFF2-40B4-BE49-F238E27FC236}">
                <a16:creationId xmlns:a16="http://schemas.microsoft.com/office/drawing/2014/main" id="{69DA9BB0-4EAA-EC63-F821-5028650B709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33447" y="2477294"/>
            <a:ext cx="3048000" cy="3048000"/>
          </a:xfrm>
        </p:spPr>
      </p:pic>
      <p:sp>
        <p:nvSpPr>
          <p:cNvPr id="9" name="Titel 3">
            <a:extLst>
              <a:ext uri="{FF2B5EF4-FFF2-40B4-BE49-F238E27FC236}">
                <a16:creationId xmlns:a16="http://schemas.microsoft.com/office/drawing/2014/main" id="{D98311A2-297F-2216-52B7-5243C23DB863}"/>
              </a:ext>
            </a:extLst>
          </p:cNvPr>
          <p:cNvSpPr txBox="1">
            <a:spLocks/>
          </p:cNvSpPr>
          <p:nvPr/>
        </p:nvSpPr>
        <p:spPr>
          <a:xfrm>
            <a:off x="6528547" y="1332706"/>
            <a:ext cx="5257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nl-NL" dirty="0"/>
              <a:t>Event </a:t>
            </a:r>
            <a:r>
              <a:rPr lang="nl-NL" dirty="0" err="1"/>
              <a:t>evaluatio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794044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BA6B785E-0482-4DE9-6411-B9F0011702EC}"/>
              </a:ext>
            </a:extLst>
          </p:cNvPr>
          <p:cNvSpPr/>
          <p:nvPr/>
        </p:nvSpPr>
        <p:spPr>
          <a:xfrm>
            <a:off x="10112188" y="71718"/>
            <a:ext cx="1948748" cy="84908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84A46512-9C20-0113-82A3-9BD1442FF10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0409" b="24500"/>
          <a:stretch/>
        </p:blipFill>
        <p:spPr>
          <a:xfrm>
            <a:off x="1598545" y="66238"/>
            <a:ext cx="3767164" cy="79641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F4725450-C220-AD50-15F1-81D9DA7A62B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t="41665" b="42731"/>
          <a:stretch/>
        </p:blipFill>
        <p:spPr>
          <a:xfrm>
            <a:off x="6586676" y="107535"/>
            <a:ext cx="4665952" cy="728041"/>
          </a:xfrm>
          <a:prstGeom prst="rect">
            <a:avLst/>
          </a:prstGeom>
        </p:spPr>
      </p:pic>
      <p:sp>
        <p:nvSpPr>
          <p:cNvPr id="8" name="Tekstvak 7">
            <a:extLst>
              <a:ext uri="{FF2B5EF4-FFF2-40B4-BE49-F238E27FC236}">
                <a16:creationId xmlns:a16="http://schemas.microsoft.com/office/drawing/2014/main" id="{C033C121-0D0A-F331-64B5-45EC74BE782D}"/>
              </a:ext>
            </a:extLst>
          </p:cNvPr>
          <p:cNvSpPr txBox="1"/>
          <p:nvPr/>
        </p:nvSpPr>
        <p:spPr>
          <a:xfrm>
            <a:off x="67628" y="107535"/>
            <a:ext cx="15991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000" dirty="0">
                <a:solidFill>
                  <a:schemeClr val="tx2"/>
                </a:solidFill>
                <a:latin typeface="+mj-lt"/>
              </a:rPr>
              <a:t>Platinum partners</a:t>
            </a:r>
          </a:p>
        </p:txBody>
      </p:sp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2C3B49A3-FFC2-07C2-D59A-ED5404A1AE89}"/>
              </a:ext>
            </a:extLst>
          </p:cNvPr>
          <p:cNvCxnSpPr/>
          <p:nvPr/>
        </p:nvCxnSpPr>
        <p:spPr>
          <a:xfrm>
            <a:off x="0" y="920799"/>
            <a:ext cx="1219200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7A619FB7-7286-888D-0D77-A05D2D680A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812549" y="1109460"/>
            <a:ext cx="2461152" cy="647010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9580D8A2-A060-1388-C921-DBA6B44239F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79713" y="1081996"/>
            <a:ext cx="2520003" cy="701939"/>
          </a:xfrm>
          <a:prstGeom prst="rect">
            <a:avLst/>
          </a:prstGeom>
        </p:spPr>
      </p:pic>
      <p:pic>
        <p:nvPicPr>
          <p:cNvPr id="19" name="Afbeelding 18" descr="Afbeelding met Lettertype, typografie, Graphics, tekst&#10;&#10;Automatisch gegenereerde beschrijving">
            <a:extLst>
              <a:ext uri="{FF2B5EF4-FFF2-40B4-BE49-F238E27FC236}">
                <a16:creationId xmlns:a16="http://schemas.microsoft.com/office/drawing/2014/main" id="{A831BC41-03F3-2CA9-393C-237251A5E23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3054" y="1148378"/>
            <a:ext cx="1985276" cy="569175"/>
          </a:xfrm>
          <a:prstGeom prst="rect">
            <a:avLst/>
          </a:prstGeom>
        </p:spPr>
      </p:pic>
      <p:sp>
        <p:nvSpPr>
          <p:cNvPr id="20" name="Tekstvak 19">
            <a:extLst>
              <a:ext uri="{FF2B5EF4-FFF2-40B4-BE49-F238E27FC236}">
                <a16:creationId xmlns:a16="http://schemas.microsoft.com/office/drawing/2014/main" id="{BBCC6CC4-E3D2-9D47-04B2-8B0AD19BFE75}"/>
              </a:ext>
            </a:extLst>
          </p:cNvPr>
          <p:cNvSpPr txBox="1"/>
          <p:nvPr/>
        </p:nvSpPr>
        <p:spPr>
          <a:xfrm>
            <a:off x="67628" y="1012642"/>
            <a:ext cx="15991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000" dirty="0">
                <a:solidFill>
                  <a:schemeClr val="tx2"/>
                </a:solidFill>
                <a:latin typeface="+mj-lt"/>
              </a:rPr>
              <a:t>Goud partners</a:t>
            </a: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E5775597-B16D-66C8-0585-F5115C1EBCCE}"/>
              </a:ext>
            </a:extLst>
          </p:cNvPr>
          <p:cNvSpPr txBox="1"/>
          <p:nvPr/>
        </p:nvSpPr>
        <p:spPr>
          <a:xfrm>
            <a:off x="67628" y="1974481"/>
            <a:ext cx="15991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000" dirty="0">
                <a:solidFill>
                  <a:schemeClr val="tx2"/>
                </a:solidFill>
                <a:latin typeface="+mj-lt"/>
              </a:rPr>
              <a:t>Zilver partners</a:t>
            </a:r>
          </a:p>
        </p:txBody>
      </p:sp>
      <p:cxnSp>
        <p:nvCxnSpPr>
          <p:cNvPr id="22" name="Rechte verbindingslijn 21">
            <a:extLst>
              <a:ext uri="{FF2B5EF4-FFF2-40B4-BE49-F238E27FC236}">
                <a16:creationId xmlns:a16="http://schemas.microsoft.com/office/drawing/2014/main" id="{A4529CD5-2F5D-3965-3836-316ED2B1F224}"/>
              </a:ext>
            </a:extLst>
          </p:cNvPr>
          <p:cNvCxnSpPr/>
          <p:nvPr/>
        </p:nvCxnSpPr>
        <p:spPr>
          <a:xfrm>
            <a:off x="0" y="1886666"/>
            <a:ext cx="1219200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Graphic 23">
            <a:extLst>
              <a:ext uri="{FF2B5EF4-FFF2-40B4-BE49-F238E27FC236}">
                <a16:creationId xmlns:a16="http://schemas.microsoft.com/office/drawing/2014/main" id="{120E498A-9D96-F278-8F94-FFBA44908B4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598545" y="1889173"/>
            <a:ext cx="2470847" cy="921273"/>
          </a:xfrm>
          <a:prstGeom prst="rect">
            <a:avLst/>
          </a:prstGeom>
        </p:spPr>
      </p:pic>
      <p:pic>
        <p:nvPicPr>
          <p:cNvPr id="28" name="Afbeelding 27" descr="Afbeelding met Lettertype, Graphics, tekst, grafische vormgeving&#10;&#10;Automatisch gegenereerde beschrijving">
            <a:extLst>
              <a:ext uri="{FF2B5EF4-FFF2-40B4-BE49-F238E27FC236}">
                <a16:creationId xmlns:a16="http://schemas.microsoft.com/office/drawing/2014/main" id="{C27C52F9-234C-7D21-E921-17A884A27CE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7691" y="1982082"/>
            <a:ext cx="1764045" cy="735455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04B3C470-5C48-05DA-9CB4-A9BEC2AA92D5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rcRect l="12222" t="36079" r="12222" b="35947"/>
          <a:stretch/>
        </p:blipFill>
        <p:spPr>
          <a:xfrm>
            <a:off x="9600244" y="1982081"/>
            <a:ext cx="1986421" cy="735456"/>
          </a:xfrm>
          <a:prstGeom prst="rect">
            <a:avLst/>
          </a:prstGeom>
        </p:spPr>
      </p:pic>
      <p:cxnSp>
        <p:nvCxnSpPr>
          <p:cNvPr id="31" name="Rechte verbindingslijn 30">
            <a:extLst>
              <a:ext uri="{FF2B5EF4-FFF2-40B4-BE49-F238E27FC236}">
                <a16:creationId xmlns:a16="http://schemas.microsoft.com/office/drawing/2014/main" id="{5A58A870-BE78-4304-FB44-82F620A9A93C}"/>
              </a:ext>
            </a:extLst>
          </p:cNvPr>
          <p:cNvCxnSpPr/>
          <p:nvPr/>
        </p:nvCxnSpPr>
        <p:spPr>
          <a:xfrm>
            <a:off x="0" y="2820268"/>
            <a:ext cx="1219200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kstvak 31">
            <a:extLst>
              <a:ext uri="{FF2B5EF4-FFF2-40B4-BE49-F238E27FC236}">
                <a16:creationId xmlns:a16="http://schemas.microsoft.com/office/drawing/2014/main" id="{B0BFFB9E-561A-A56B-2797-A16C36EC0D8C}"/>
              </a:ext>
            </a:extLst>
          </p:cNvPr>
          <p:cNvSpPr txBox="1"/>
          <p:nvPr/>
        </p:nvSpPr>
        <p:spPr>
          <a:xfrm>
            <a:off x="67628" y="3108596"/>
            <a:ext cx="15991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000" dirty="0">
                <a:solidFill>
                  <a:schemeClr val="tx2"/>
                </a:solidFill>
                <a:latin typeface="+mj-lt"/>
              </a:rPr>
              <a:t>Brons partners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CE31F379-2A34-E5B4-F957-C17E1224BE2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899927" y="2961837"/>
            <a:ext cx="682373" cy="368850"/>
          </a:xfrm>
          <a:prstGeom prst="rect">
            <a:avLst/>
          </a:prstGeom>
        </p:spPr>
      </p:pic>
      <p:pic>
        <p:nvPicPr>
          <p:cNvPr id="36" name="Afbeelding 35" descr="Afbeelding met Lettertype, typografie, Graphics, tekst&#10;&#10;Automatisch gegenereerde beschrijving">
            <a:extLst>
              <a:ext uri="{FF2B5EF4-FFF2-40B4-BE49-F238E27FC236}">
                <a16:creationId xmlns:a16="http://schemas.microsoft.com/office/drawing/2014/main" id="{5DF01228-2F86-AA52-A385-6DFDE2451075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0770" y="3108596"/>
            <a:ext cx="1337431" cy="219751"/>
          </a:xfrm>
          <a:prstGeom prst="rect">
            <a:avLst/>
          </a:prstGeom>
        </p:spPr>
      </p:pic>
      <p:pic>
        <p:nvPicPr>
          <p:cNvPr id="38" name="Afbeelding 37" descr="Afbeelding met Lettertype, Graphics, logo, ontwerp&#10;&#10;Automatisch gegenereerde beschrijving">
            <a:extLst>
              <a:ext uri="{FF2B5EF4-FFF2-40B4-BE49-F238E27FC236}">
                <a16:creationId xmlns:a16="http://schemas.microsoft.com/office/drawing/2014/main" id="{CE30AA9C-A035-56D9-62C7-17E3FDB4376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7597" y="2906836"/>
            <a:ext cx="884228" cy="479694"/>
          </a:xfrm>
          <a:prstGeom prst="rect">
            <a:avLst/>
          </a:prstGeom>
        </p:spPr>
      </p:pic>
      <p:pic>
        <p:nvPicPr>
          <p:cNvPr id="40" name="Afbeelding 39" descr="Afbeelding met Lettertype, Graphics, tekst, grafische vormgeving&#10;&#10;Automatisch gegenereerde beschrijving">
            <a:extLst>
              <a:ext uri="{FF2B5EF4-FFF2-40B4-BE49-F238E27FC236}">
                <a16:creationId xmlns:a16="http://schemas.microsoft.com/office/drawing/2014/main" id="{3F9E3CED-F584-977D-10D0-70DEE66AF3F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727" y="3049708"/>
            <a:ext cx="854809" cy="295622"/>
          </a:xfrm>
          <a:prstGeom prst="rect">
            <a:avLst/>
          </a:prstGeom>
        </p:spPr>
      </p:pic>
      <p:pic>
        <p:nvPicPr>
          <p:cNvPr id="42" name="Afbeelding 41" descr="Afbeelding met Graphics, Lettertype, grafische vormgeving, schermopname&#10;&#10;Automatisch gegenereerde beschrijving">
            <a:extLst>
              <a:ext uri="{FF2B5EF4-FFF2-40B4-BE49-F238E27FC236}">
                <a16:creationId xmlns:a16="http://schemas.microsoft.com/office/drawing/2014/main" id="{705E362F-52CC-943E-5D72-D502C7F8D7D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9727" y="3584059"/>
            <a:ext cx="976758" cy="339622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1BB2B881-EFF3-86B1-DBB3-F12C76A27CB1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7195822" y="3544618"/>
            <a:ext cx="1228798" cy="390437"/>
          </a:xfrm>
          <a:prstGeom prst="rect">
            <a:avLst/>
          </a:prstGeom>
        </p:spPr>
      </p:pic>
      <p:pic>
        <p:nvPicPr>
          <p:cNvPr id="46" name="Afbeelding 45" descr="Afbeelding met tekst, Lettertype, Graphics, schermopname&#10;&#10;Automatisch gegenereerde beschrijving">
            <a:extLst>
              <a:ext uri="{FF2B5EF4-FFF2-40B4-BE49-F238E27FC236}">
                <a16:creationId xmlns:a16="http://schemas.microsoft.com/office/drawing/2014/main" id="{16FF4C20-27CE-4760-DBC9-E7AD76F12F8F}"/>
              </a:ext>
            </a:extLst>
          </p:cNvPr>
          <p:cNvPicPr>
            <a:picLocks noChangeAspect="1"/>
          </p:cNvPicPr>
          <p:nvPr/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08" t="32334" r="12196" b="30934"/>
          <a:stretch/>
        </p:blipFill>
        <p:spPr>
          <a:xfrm>
            <a:off x="1696894" y="3508308"/>
            <a:ext cx="1300874" cy="437219"/>
          </a:xfrm>
          <a:prstGeom prst="rect">
            <a:avLst/>
          </a:prstGeom>
        </p:spPr>
      </p:pic>
      <p:pic>
        <p:nvPicPr>
          <p:cNvPr id="48" name="Afbeelding 47" descr="Afbeelding met Graphics, Lettertype, grafische vormgeving, tekst&#10;&#10;Automatisch gegenereerde beschrijving">
            <a:extLst>
              <a:ext uri="{FF2B5EF4-FFF2-40B4-BE49-F238E27FC236}">
                <a16:creationId xmlns:a16="http://schemas.microsoft.com/office/drawing/2014/main" id="{EFDCEB3E-0E53-D67F-F670-C80852C79792}"/>
              </a:ext>
            </a:extLst>
          </p:cNvPr>
          <p:cNvPicPr>
            <a:picLocks noChangeAspect="1"/>
          </p:cNvPicPr>
          <p:nvPr/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20" t="22029" r="12758" b="30872"/>
          <a:stretch/>
        </p:blipFill>
        <p:spPr>
          <a:xfrm>
            <a:off x="4562449" y="3475340"/>
            <a:ext cx="1213734" cy="479694"/>
          </a:xfrm>
          <a:prstGeom prst="rect">
            <a:avLst/>
          </a:prstGeom>
        </p:spPr>
      </p:pic>
      <p:cxnSp>
        <p:nvCxnSpPr>
          <p:cNvPr id="49" name="Rechte verbindingslijn 48">
            <a:extLst>
              <a:ext uri="{FF2B5EF4-FFF2-40B4-BE49-F238E27FC236}">
                <a16:creationId xmlns:a16="http://schemas.microsoft.com/office/drawing/2014/main" id="{8645E9BF-43D0-4B34-2479-88FE1827A9E7}"/>
              </a:ext>
            </a:extLst>
          </p:cNvPr>
          <p:cNvCxnSpPr/>
          <p:nvPr/>
        </p:nvCxnSpPr>
        <p:spPr>
          <a:xfrm>
            <a:off x="0" y="4155292"/>
            <a:ext cx="12192000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kstvak 49">
            <a:extLst>
              <a:ext uri="{FF2B5EF4-FFF2-40B4-BE49-F238E27FC236}">
                <a16:creationId xmlns:a16="http://schemas.microsoft.com/office/drawing/2014/main" id="{BE8CE4B8-A71E-6E4B-82A7-FB2D3ACC0CC7}"/>
              </a:ext>
            </a:extLst>
          </p:cNvPr>
          <p:cNvSpPr txBox="1"/>
          <p:nvPr/>
        </p:nvSpPr>
        <p:spPr>
          <a:xfrm>
            <a:off x="67628" y="4431096"/>
            <a:ext cx="15991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000" dirty="0">
                <a:solidFill>
                  <a:schemeClr val="tx2"/>
                </a:solidFill>
                <a:latin typeface="+mj-lt"/>
              </a:rPr>
              <a:t>Community partners</a:t>
            </a:r>
          </a:p>
        </p:txBody>
      </p:sp>
      <p:pic>
        <p:nvPicPr>
          <p:cNvPr id="52" name="Afbeelding 51" descr="Afbeelding met Lettertype, schermopname, Graphics, ontwerp&#10;&#10;Automatisch gegenereerde beschrijving">
            <a:extLst>
              <a:ext uri="{FF2B5EF4-FFF2-40B4-BE49-F238E27FC236}">
                <a16:creationId xmlns:a16="http://schemas.microsoft.com/office/drawing/2014/main" id="{D0D3F962-3CB0-12E5-C953-EE7BAE11B2EA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0363" y="4229248"/>
            <a:ext cx="1737940" cy="579314"/>
          </a:xfrm>
          <a:prstGeom prst="rect">
            <a:avLst/>
          </a:prstGeom>
        </p:spPr>
      </p:pic>
      <p:pic>
        <p:nvPicPr>
          <p:cNvPr id="54" name="Afbeelding 53" descr="Afbeelding met Graphics, grafische vormgeving, schermopname, ontwerp&#10;&#10;Automatisch gegenereerde beschrijving">
            <a:extLst>
              <a:ext uri="{FF2B5EF4-FFF2-40B4-BE49-F238E27FC236}">
                <a16:creationId xmlns:a16="http://schemas.microsoft.com/office/drawing/2014/main" id="{78B960F1-F13D-4475-45A6-D23D48D9A879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8549" y="4257744"/>
            <a:ext cx="1261872" cy="522322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9DA0D8BA-25B2-8045-A7C7-93191936E0D4}"/>
              </a:ext>
            </a:extLst>
          </p:cNvPr>
          <p:cNvPicPr>
            <a:picLocks noChangeAspect="1"/>
          </p:cNvPicPr>
          <p:nvPr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rcRect t="31867" b="34203"/>
          <a:stretch/>
        </p:blipFill>
        <p:spPr>
          <a:xfrm>
            <a:off x="6329084" y="4264938"/>
            <a:ext cx="2245249" cy="507935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27C0BCFA-494B-2746-39BB-AA21DE9159BD}"/>
              </a:ext>
            </a:extLst>
          </p:cNvPr>
          <p:cNvPicPr>
            <a:picLocks noChangeAspect="1"/>
          </p:cNvPicPr>
          <p:nvPr/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rcRect l="7033" t="38160" r="6079" b="38000"/>
          <a:stretch/>
        </p:blipFill>
        <p:spPr>
          <a:xfrm>
            <a:off x="9278201" y="4252382"/>
            <a:ext cx="2590337" cy="533046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353C86F7-81BC-A6BD-3CB7-6DFB1F7D3B21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9553054" y="5012739"/>
            <a:ext cx="2315484" cy="359682"/>
          </a:xfrm>
          <a:prstGeom prst="rect">
            <a:avLst/>
          </a:prstGeom>
        </p:spPr>
      </p:pic>
      <p:pic>
        <p:nvPicPr>
          <p:cNvPr id="62" name="Afbeelding 61" descr="Afbeelding met Graphics, Lettertype, logo, grafische vormgeving&#10;&#10;Automatisch gegenereerde beschrijving">
            <a:extLst>
              <a:ext uri="{FF2B5EF4-FFF2-40B4-BE49-F238E27FC236}">
                <a16:creationId xmlns:a16="http://schemas.microsoft.com/office/drawing/2014/main" id="{498229BB-2429-DC97-817E-B477DE115ED0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3701" y="4930182"/>
            <a:ext cx="1631568" cy="524797"/>
          </a:xfrm>
          <a:prstGeom prst="rect">
            <a:avLst/>
          </a:prstGeom>
        </p:spPr>
      </p:pic>
      <p:pic>
        <p:nvPicPr>
          <p:cNvPr id="64" name="Afbeelding 63" descr="Afbeelding met tekst, Lettertype, Graphics, logo&#10;&#10;Automatisch gegenereerde beschrijving">
            <a:extLst>
              <a:ext uri="{FF2B5EF4-FFF2-40B4-BE49-F238E27FC236}">
                <a16:creationId xmlns:a16="http://schemas.microsoft.com/office/drawing/2014/main" id="{0B0724BC-D9D7-7CE3-2DF8-68C9A1050241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6676" y="4868193"/>
            <a:ext cx="1730064" cy="648774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5122EDB4-FF50-CB8B-6143-353367DE18EE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1690363" y="4925619"/>
            <a:ext cx="1631568" cy="533922"/>
          </a:xfrm>
          <a:prstGeom prst="rect">
            <a:avLst/>
          </a:prstGeom>
        </p:spPr>
      </p:pic>
      <p:pic>
        <p:nvPicPr>
          <p:cNvPr id="68" name="Afbeelding 67" descr="Afbeelding met tekst, Lettertype, logo, Graphics&#10;&#10;Automatisch gegenereerde beschrijving">
            <a:extLst>
              <a:ext uri="{FF2B5EF4-FFF2-40B4-BE49-F238E27FC236}">
                <a16:creationId xmlns:a16="http://schemas.microsoft.com/office/drawing/2014/main" id="{B87F7FA3-CDB4-9777-D342-090B91286476}"/>
              </a:ext>
            </a:extLst>
          </p:cNvPr>
          <p:cNvPicPr>
            <a:picLocks noChangeAspect="1"/>
          </p:cNvPicPr>
          <p:nvPr/>
        </p:nvPicPr>
        <p:blipFill rotWithShape="1"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78" b="18464"/>
          <a:stretch/>
        </p:blipFill>
        <p:spPr>
          <a:xfrm>
            <a:off x="4069392" y="5857579"/>
            <a:ext cx="2040186" cy="445246"/>
          </a:xfrm>
          <a:prstGeom prst="rect">
            <a:avLst/>
          </a:prstGeom>
        </p:spPr>
      </p:pic>
      <p:pic>
        <p:nvPicPr>
          <p:cNvPr id="70" name="Afbeelding 69" descr="Afbeelding met tekst, Lettertype, schermopname, Graphics&#10;&#10;Automatisch gegenereerde beschrijving">
            <a:extLst>
              <a:ext uri="{FF2B5EF4-FFF2-40B4-BE49-F238E27FC236}">
                <a16:creationId xmlns:a16="http://schemas.microsoft.com/office/drawing/2014/main" id="{225CE224-217E-B15A-39CD-3A814B7E31C5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0363" y="5725822"/>
            <a:ext cx="1528325" cy="708761"/>
          </a:xfrm>
          <a:prstGeom prst="rect">
            <a:avLst/>
          </a:prstGeom>
        </p:spPr>
      </p:pic>
      <p:pic>
        <p:nvPicPr>
          <p:cNvPr id="74" name="Afbeelding 73" descr="Afbeelding met Lettertype, symbool, Graphics, logo&#10;&#10;Automatisch gegenereerde beschrijving">
            <a:extLst>
              <a:ext uri="{FF2B5EF4-FFF2-40B4-BE49-F238E27FC236}">
                <a16:creationId xmlns:a16="http://schemas.microsoft.com/office/drawing/2014/main" id="{9524B1F2-46EE-091D-F62D-9F0E49C11558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01410" y="5875718"/>
            <a:ext cx="2167128" cy="408968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92DE153F-54E7-F973-2517-447BBBC62E7C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6482017" y="5841935"/>
            <a:ext cx="1939383" cy="476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1666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42338B2-C5B8-0084-3704-CA9EA764A2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2338B2-C5B8-0084-3704-CA9EA764A2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4941" y="773498"/>
            <a:ext cx="8388657" cy="1325563"/>
          </a:xfrm>
        </p:spPr>
        <p:txBody>
          <a:bodyPr vert="horz"/>
          <a:lstStyle/>
          <a:p>
            <a:r>
              <a:rPr lang="nl-NL" dirty="0"/>
              <a:t>Grzegorz (Greg) Strzymiński</a:t>
            </a:r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16F62582-09FB-82DE-EE84-0E928DE920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24976" y="1809549"/>
            <a:ext cx="7788621" cy="4688906"/>
          </a:xfrm>
        </p:spPr>
        <p:txBody>
          <a:bodyPr>
            <a:normAutofit/>
          </a:bodyPr>
          <a:lstStyle/>
          <a:p>
            <a:pPr marL="0" inden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/>
              <a:t>Power BI Consultant and Trainer</a:t>
            </a:r>
          </a:p>
          <a:p>
            <a:pPr marL="0" inden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/>
              <a:t>Kearney, Warsaw, Poland</a:t>
            </a:r>
          </a:p>
          <a:p>
            <a: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2400" dirty="0"/>
          </a:p>
          <a:p>
            <a:pPr marL="0" inden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/>
              <a:t>Developing end-to-end reporting and analysis solutions</a:t>
            </a:r>
          </a:p>
          <a:p>
            <a:pPr marL="0" inden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/>
              <a:t>Designing data models and pipelines</a:t>
            </a:r>
          </a:p>
          <a:p>
            <a:pPr marL="0" indent="0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dirty="0"/>
              <a:t>DAX fan</a:t>
            </a:r>
            <a:endParaRPr lang="en-GB" sz="2400" dirty="0"/>
          </a:p>
          <a:p>
            <a:pPr marL="457200" indent="-457200">
              <a:buFont typeface="+mj-lt"/>
              <a:buAutoNum type="arabicPeriod"/>
            </a:pPr>
            <a:endParaRPr lang="nl-NL" sz="2000" dirty="0"/>
          </a:p>
        </p:txBody>
      </p:sp>
      <p:pic>
        <p:nvPicPr>
          <p:cNvPr id="14" name="Picture Placeholder 12" descr="A person in a suit&#10;&#10;Description automatically generated">
            <a:extLst>
              <a:ext uri="{FF2B5EF4-FFF2-40B4-BE49-F238E27FC236}">
                <a16:creationId xmlns:a16="http://schemas.microsoft.com/office/drawing/2014/main" id="{B6008CF2-9F4B-6DD2-C072-372795FFE7BC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10" t="3414" r="11162" b="26127"/>
          <a:stretch/>
        </p:blipFill>
        <p:spPr>
          <a:xfrm>
            <a:off x="408240" y="1264722"/>
            <a:ext cx="2474470" cy="318083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6CB5DDD-F50C-7B25-C2D8-8B87FB6FD14A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08240" y="4926720"/>
            <a:ext cx="2474470" cy="297877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F2F74FCB-53C7-3CEF-8035-6C238FCB575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219986" y="2838361"/>
            <a:ext cx="395727" cy="395727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89C06FAE-252C-6949-45A3-D444D819515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219985" y="2099061"/>
            <a:ext cx="395728" cy="395728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8D7E0216-0C1D-403A-ECE4-11521F16A1B0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219985" y="5576539"/>
            <a:ext cx="394190" cy="39419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6FA65284-1842-0ABF-2087-DEF4C74A4542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219985" y="4859722"/>
            <a:ext cx="394190" cy="39419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14B4BE9C-5C3A-D2D0-CD07-972F044177B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218384" y="4079085"/>
            <a:ext cx="405416" cy="405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76229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8366385-0601-F4EC-9AA0-FA38F6488A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0721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366385-0601-F4EC-9AA0-FA38F6488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/>
              <a:t>Agenda</a:t>
            </a:r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16F62582-09FB-82DE-EE84-0E928DE920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842812" cy="4351338"/>
          </a:xfrm>
        </p:spPr>
        <p:txBody>
          <a:bodyPr>
            <a:norm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 (body)"/>
              </a:rPr>
              <a:t>New (button) slicer visual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Segoe UI (body)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 (body)"/>
              </a:rPr>
              <a:t>New card visual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>
              <a:solidFill>
                <a:sysClr val="windowText" lastClr="000000"/>
              </a:solidFill>
              <a:latin typeface="Segoe UI (body)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Segoe UI (body)"/>
              </a:rPr>
              <a:t>Live demos</a:t>
            </a:r>
          </a:p>
          <a:p>
            <a:pPr marL="457200" indent="-457200">
              <a:buFont typeface="+mj-lt"/>
              <a:buAutoNum type="arabicPeriod"/>
            </a:pPr>
            <a:endParaRPr lang="nl-NL" sz="2000" dirty="0">
              <a:latin typeface="Segoe UI (body)"/>
            </a:endParaRPr>
          </a:p>
        </p:txBody>
      </p:sp>
    </p:spTree>
    <p:extLst>
      <p:ext uri="{BB962C8B-B14F-4D97-AF65-F5344CB8AC3E}">
        <p14:creationId xmlns:p14="http://schemas.microsoft.com/office/powerpoint/2010/main" val="31925617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8366385-0601-F4EC-9AA0-FA38F6488A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366385-0601-F4EC-9AA0-FA38F6488A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 err="1"/>
              <a:t>After</a:t>
            </a:r>
            <a:r>
              <a:rPr lang="nl-NL" dirty="0"/>
              <a:t>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session</a:t>
            </a:r>
            <a:r>
              <a:rPr lang="nl-NL" dirty="0"/>
              <a:t> </a:t>
            </a:r>
            <a:r>
              <a:rPr lang="nl-NL" dirty="0" err="1"/>
              <a:t>you</a:t>
            </a:r>
            <a:r>
              <a:rPr lang="nl-NL" dirty="0"/>
              <a:t> </a:t>
            </a:r>
            <a:r>
              <a:rPr lang="nl-NL" dirty="0" err="1"/>
              <a:t>will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:</a:t>
            </a:r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16F62582-09FB-82DE-EE84-0E928DE920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842812" cy="4351338"/>
          </a:xfrm>
        </p:spPr>
        <p:txBody>
          <a:bodyPr>
            <a:norm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>
              <a:solidFill>
                <a:sysClr val="windowText" lastClr="000000"/>
              </a:solidFill>
              <a:latin typeface="Segoe UI (body)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F</a:t>
            </a:r>
            <a:r>
              <a:rPr lang="en-US" b="0" i="0" dirty="0">
                <a:effectLst/>
              </a:rPr>
              <a:t>amiliar with the current capabilities of the new card and slicer visuals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A</a:t>
            </a:r>
            <a:r>
              <a:rPr lang="en-US" b="0" i="0" dirty="0">
                <a:effectLst/>
              </a:rPr>
              <a:t>ble to identify scenarios in which using these functionalities will result in tangible benefits.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0" i="0" dirty="0">
                <a:effectLst/>
              </a:rPr>
              <a:t>Equipped with the technical knowledge needed to implement the new card and slicer visuals in your reports literally the next day.</a:t>
            </a:r>
            <a:endParaRPr lang="nl-NL" sz="2000" dirty="0"/>
          </a:p>
        </p:txBody>
      </p:sp>
    </p:spTree>
    <p:extLst>
      <p:ext uri="{BB962C8B-B14F-4D97-AF65-F5344CB8AC3E}">
        <p14:creationId xmlns:p14="http://schemas.microsoft.com/office/powerpoint/2010/main" val="11744683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CCD9B1F-0AE0-45B5-3D63-515BED506B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3938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CD9B1F-0AE0-45B5-3D63-515BED506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/>
              <a:t>New (button) </a:t>
            </a:r>
            <a:r>
              <a:rPr lang="nl-NL" dirty="0" err="1"/>
              <a:t>slicer</a:t>
            </a:r>
            <a:r>
              <a:rPr lang="nl-NL" dirty="0"/>
              <a:t> </a:t>
            </a:r>
            <a:r>
              <a:rPr lang="nl-NL" dirty="0" err="1"/>
              <a:t>visual</a:t>
            </a:r>
            <a:endParaRPr lang="nl-NL" dirty="0"/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id="{BDDFF876-BEAE-DC85-70A6-367509BA298E}"/>
              </a:ext>
            </a:extLst>
          </p:cNvPr>
          <p:cNvSpPr txBox="1"/>
          <p:nvPr/>
        </p:nvSpPr>
        <p:spPr>
          <a:xfrm>
            <a:off x="994303" y="2002896"/>
            <a:ext cx="2618848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GB" sz="2400" b="1" dirty="0">
                <a:solidFill>
                  <a:srgbClr val="000000"/>
                </a:solidFill>
              </a:rPr>
              <a:t>Old</a:t>
            </a:r>
            <a:endParaRPr lang="en-GB" sz="2000" b="1" dirty="0">
              <a:solidFill>
                <a:srgbClr val="000000"/>
              </a:solidFill>
            </a:endParaRPr>
          </a:p>
        </p:txBody>
      </p:sp>
      <p:sp>
        <p:nvSpPr>
          <p:cNvPr id="10" name="TextBox 1">
            <a:extLst>
              <a:ext uri="{FF2B5EF4-FFF2-40B4-BE49-F238E27FC236}">
                <a16:creationId xmlns:a16="http://schemas.microsoft.com/office/drawing/2014/main" id="{ACC22412-51FA-772C-73B4-762215568EF4}"/>
              </a:ext>
            </a:extLst>
          </p:cNvPr>
          <p:cNvSpPr txBox="1"/>
          <p:nvPr/>
        </p:nvSpPr>
        <p:spPr>
          <a:xfrm>
            <a:off x="6714562" y="1985186"/>
            <a:ext cx="2618848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GB" sz="2400" b="1" dirty="0">
                <a:solidFill>
                  <a:srgbClr val="000000"/>
                </a:solidFill>
              </a:rPr>
              <a:t>New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F2F3F94-9E79-5965-19F1-74120EBE09DD}"/>
              </a:ext>
            </a:extLst>
          </p:cNvPr>
          <p:cNvCxnSpPr>
            <a:cxnSpLocks/>
          </p:cNvCxnSpPr>
          <p:nvPr/>
        </p:nvCxnSpPr>
        <p:spPr>
          <a:xfrm>
            <a:off x="6051350" y="2675965"/>
            <a:ext cx="0" cy="286059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EC6A187D-FB6A-E18C-5E86-D3D338CD73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2642" y="3276881"/>
            <a:ext cx="4963559" cy="146261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CC20618-1E1A-F275-21B5-979BED3BB5B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99718" y="3605305"/>
            <a:ext cx="5135907" cy="1000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7062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AA4518F-B2B0-8138-55D5-AFC0ECFED5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325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A4518F-B2B0-8138-55D5-AFC0ECFED5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/>
              <a:t>New </a:t>
            </a:r>
            <a:r>
              <a:rPr lang="nl-NL" dirty="0" err="1"/>
              <a:t>slicer</a:t>
            </a:r>
            <a:r>
              <a:rPr lang="nl-NL" dirty="0"/>
              <a:t> </a:t>
            </a:r>
            <a:r>
              <a:rPr lang="nl-NL" dirty="0" err="1"/>
              <a:t>visual</a:t>
            </a:r>
            <a:r>
              <a:rPr lang="nl-NL" dirty="0"/>
              <a:t> timeline</a:t>
            </a:r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16F62582-09FB-82DE-EE84-0E928DE920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842812" cy="4351338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r>
              <a:rPr lang="en-GB" sz="2000" b="1" dirty="0">
                <a:solidFill>
                  <a:srgbClr val="000000"/>
                </a:solidFill>
              </a:rPr>
              <a:t>Currently only button slicer is released</a:t>
            </a:r>
          </a:p>
          <a:p>
            <a:pPr>
              <a:lnSpc>
                <a:spcPct val="90000"/>
              </a:lnSpc>
            </a:pPr>
            <a:endParaRPr lang="en-GB" sz="2000" b="1" dirty="0">
              <a:solidFill>
                <a:srgbClr val="000000"/>
              </a:solidFill>
            </a:endParaRPr>
          </a:p>
          <a:p>
            <a:pPr>
              <a:lnSpc>
                <a:spcPct val="90000"/>
              </a:lnSpc>
            </a:pPr>
            <a:r>
              <a:rPr lang="en-GB" sz="2000" b="1" dirty="0">
                <a:solidFill>
                  <a:srgbClr val="000000"/>
                </a:solidFill>
              </a:rPr>
              <a:t>There are plans to release next slicers. Microsoft roadmap:</a:t>
            </a:r>
          </a:p>
          <a:p>
            <a:pPr>
              <a:lnSpc>
                <a:spcPct val="90000"/>
              </a:lnSpc>
            </a:pPr>
            <a:endParaRPr lang="en-GB" sz="1800" b="1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Button slicer - released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2000" b="1" dirty="0">
                <a:solidFill>
                  <a:srgbClr val="000000"/>
                </a:solidFill>
              </a:rPr>
              <a:t>List and dropdown slicer – date </a:t>
            </a:r>
            <a:r>
              <a:rPr lang="en-GB" sz="2000" b="1" dirty="0" err="1">
                <a:solidFill>
                  <a:srgbClr val="000000"/>
                </a:solidFill>
              </a:rPr>
              <a:t>tbd</a:t>
            </a:r>
            <a:endParaRPr lang="en-GB" sz="2000" b="1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2000" b="1" dirty="0">
                <a:solidFill>
                  <a:srgbClr val="000000"/>
                </a:solidFill>
              </a:rPr>
              <a:t>Slider – date </a:t>
            </a:r>
            <a:r>
              <a:rPr lang="en-GB" sz="2000" b="1" dirty="0" err="1">
                <a:solidFill>
                  <a:srgbClr val="000000"/>
                </a:solidFill>
              </a:rPr>
              <a:t>tbd</a:t>
            </a:r>
            <a:endParaRPr lang="en-GB" sz="2000" b="1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2000" b="1" dirty="0">
                <a:solidFill>
                  <a:srgbClr val="000000"/>
                </a:solidFill>
              </a:rPr>
              <a:t>Calendar slicer - date </a:t>
            </a:r>
            <a:r>
              <a:rPr lang="en-GB" sz="2000" b="1" dirty="0" err="1">
                <a:solidFill>
                  <a:srgbClr val="000000"/>
                </a:solidFill>
              </a:rPr>
              <a:t>tbd</a:t>
            </a:r>
            <a:endParaRPr lang="en-GB" sz="2000" b="1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2000" b="1" dirty="0">
                <a:solidFill>
                  <a:srgbClr val="000000"/>
                </a:solidFill>
              </a:rPr>
              <a:t>Relative slicer – date </a:t>
            </a:r>
            <a:r>
              <a:rPr lang="en-GB" sz="2000" b="1" dirty="0" err="1">
                <a:solidFill>
                  <a:srgbClr val="000000"/>
                </a:solidFill>
              </a:rPr>
              <a:t>tbd</a:t>
            </a:r>
            <a:endParaRPr lang="en-GB" sz="2000" b="1" dirty="0">
              <a:solidFill>
                <a:srgbClr val="000000"/>
              </a:solidFill>
            </a:endParaRPr>
          </a:p>
          <a:p>
            <a:pPr>
              <a:lnSpc>
                <a:spcPct val="90000"/>
              </a:lnSpc>
            </a:pPr>
            <a:endParaRPr lang="en-GB" sz="1800" b="1" dirty="0">
              <a:solidFill>
                <a:srgbClr val="000000"/>
              </a:solidFill>
            </a:endParaRPr>
          </a:p>
          <a:p>
            <a:pPr>
              <a:lnSpc>
                <a:spcPct val="90000"/>
              </a:lnSpc>
            </a:pPr>
            <a:endParaRPr lang="en-GB" sz="1800" b="1" dirty="0">
              <a:solidFill>
                <a:srgbClr val="000000"/>
              </a:solidFill>
            </a:endParaRPr>
          </a:p>
          <a:p>
            <a:pPr marL="457200" indent="-457200">
              <a:buFont typeface="+mj-lt"/>
              <a:buAutoNum type="arabicPeriod"/>
            </a:pPr>
            <a:endParaRPr lang="nl-NL" sz="1800" dirty="0"/>
          </a:p>
        </p:txBody>
      </p:sp>
    </p:spTree>
    <p:extLst>
      <p:ext uri="{BB962C8B-B14F-4D97-AF65-F5344CB8AC3E}">
        <p14:creationId xmlns:p14="http://schemas.microsoft.com/office/powerpoint/2010/main" val="8740753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B43E5BD-7D98-3282-0DB8-0B2C800786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9483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43E5BD-7D98-3282-0DB8-0B2C800786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/>
              <a:t>New card </a:t>
            </a:r>
            <a:r>
              <a:rPr lang="nl-NL" dirty="0" err="1"/>
              <a:t>visual</a:t>
            </a:r>
            <a:endParaRPr lang="nl-NL" dirty="0"/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id="{EE114C3B-21D0-7FD4-D172-9FD39D8CE5CC}"/>
              </a:ext>
            </a:extLst>
          </p:cNvPr>
          <p:cNvSpPr txBox="1"/>
          <p:nvPr/>
        </p:nvSpPr>
        <p:spPr>
          <a:xfrm>
            <a:off x="994303" y="2002896"/>
            <a:ext cx="2618848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GB" sz="2400" b="1" dirty="0">
                <a:solidFill>
                  <a:srgbClr val="000000"/>
                </a:solidFill>
                <a:latin typeface="Arial" panose="020B0604020202020204" pitchFamily="34" charset="0"/>
              </a:rPr>
              <a:t>Old</a:t>
            </a:r>
            <a:endParaRPr lang="en-GB" sz="20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0" name="TextBox 1">
            <a:extLst>
              <a:ext uri="{FF2B5EF4-FFF2-40B4-BE49-F238E27FC236}">
                <a16:creationId xmlns:a16="http://schemas.microsoft.com/office/drawing/2014/main" id="{6F3F466E-77E8-91E8-7BE2-B43A82DE8EA7}"/>
              </a:ext>
            </a:extLst>
          </p:cNvPr>
          <p:cNvSpPr txBox="1"/>
          <p:nvPr/>
        </p:nvSpPr>
        <p:spPr>
          <a:xfrm>
            <a:off x="6847727" y="2002895"/>
            <a:ext cx="2618848" cy="3323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90000"/>
              </a:lnSpc>
            </a:pPr>
            <a:r>
              <a:rPr lang="en-GB" sz="2400" b="1" dirty="0">
                <a:solidFill>
                  <a:srgbClr val="000000"/>
                </a:solidFill>
                <a:latin typeface="Arial" panose="020B0604020202020204" pitchFamily="34" charset="0"/>
              </a:rPr>
              <a:t>New</a:t>
            </a:r>
            <a:endParaRPr lang="en-GB" sz="20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E1063CA-FD30-2ADB-1875-3446FBE73A80}"/>
              </a:ext>
            </a:extLst>
          </p:cNvPr>
          <p:cNvCxnSpPr>
            <a:cxnSpLocks/>
          </p:cNvCxnSpPr>
          <p:nvPr/>
        </p:nvCxnSpPr>
        <p:spPr>
          <a:xfrm>
            <a:off x="6051350" y="2675965"/>
            <a:ext cx="0" cy="286059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C53E74A8-389A-D34F-B740-DE488E9C610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733"/>
          <a:stretch/>
        </p:blipFill>
        <p:spPr>
          <a:xfrm>
            <a:off x="1198456" y="3068415"/>
            <a:ext cx="3583314" cy="178669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7716D808-C606-3D67-DF17-3248CAB418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31772" y="3068415"/>
            <a:ext cx="3992453" cy="2104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7818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3F8DAEB-5DFE-4D0D-A9E7-F9479A3176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9938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4" imgH="405" progId="TCLayout.ActiveDocument.1">
                  <p:embed/>
                </p:oleObj>
              </mc:Choice>
              <mc:Fallback>
                <p:oleObj name="think-cell Slide" r:id="rId3" imgW="404" imgH="405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F8DAEB-5DFE-4D0D-A9E7-F9479A3176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0121CE1-AE8A-C285-EB49-0DF4545AAD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 dirty="0"/>
              <a:t>New card </a:t>
            </a:r>
            <a:r>
              <a:rPr lang="nl-NL" dirty="0" err="1"/>
              <a:t>visual</a:t>
            </a:r>
            <a:r>
              <a:rPr lang="nl-NL" dirty="0"/>
              <a:t> timeline</a:t>
            </a:r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16F62582-09FB-82DE-EE84-0E928DE920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842812" cy="4450888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</a:pPr>
            <a:r>
              <a:rPr lang="en-GB" sz="2000" b="1" dirty="0">
                <a:solidFill>
                  <a:srgbClr val="000000"/>
                </a:solidFill>
              </a:rPr>
              <a:t>Currently multi cards and reference labels are released</a:t>
            </a:r>
          </a:p>
          <a:p>
            <a:pPr>
              <a:lnSpc>
                <a:spcPct val="90000"/>
              </a:lnSpc>
            </a:pPr>
            <a:endParaRPr lang="en-GB" sz="2000" b="1" dirty="0">
              <a:solidFill>
                <a:srgbClr val="000000"/>
              </a:solidFill>
            </a:endParaRPr>
          </a:p>
          <a:p>
            <a:pPr>
              <a:lnSpc>
                <a:spcPct val="90000"/>
              </a:lnSpc>
            </a:pPr>
            <a:r>
              <a:rPr lang="en-GB" sz="2000" b="1" dirty="0">
                <a:solidFill>
                  <a:srgbClr val="000000"/>
                </a:solidFill>
              </a:rPr>
              <a:t>There are plans to continue the development. Microsoft roadmap:</a:t>
            </a:r>
          </a:p>
          <a:p>
            <a:pPr>
              <a:lnSpc>
                <a:spcPct val="90000"/>
              </a:lnSpc>
            </a:pPr>
            <a:endParaRPr lang="en-GB" sz="2000" b="1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Multi card - released</a:t>
            </a:r>
            <a:endParaRPr lang="en-GB" sz="2000" b="1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2000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eference labels – released</a:t>
            </a:r>
            <a:endParaRPr lang="en-GB" sz="2000" b="1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2000" b="1" dirty="0">
                <a:solidFill>
                  <a:srgbClr val="000000"/>
                </a:solidFill>
              </a:rPr>
              <a:t>Small multiples – date </a:t>
            </a:r>
            <a:r>
              <a:rPr lang="en-GB" sz="2000" b="1" dirty="0" err="1">
                <a:solidFill>
                  <a:srgbClr val="000000"/>
                </a:solidFill>
              </a:rPr>
              <a:t>tbd</a:t>
            </a:r>
            <a:endParaRPr lang="en-GB" sz="2000" b="1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2000" b="1" dirty="0">
                <a:solidFill>
                  <a:srgbClr val="000000"/>
                </a:solidFill>
              </a:rPr>
              <a:t>Actions - date </a:t>
            </a:r>
            <a:r>
              <a:rPr lang="en-GB" sz="2000" b="1" dirty="0" err="1">
                <a:solidFill>
                  <a:srgbClr val="000000"/>
                </a:solidFill>
              </a:rPr>
              <a:t>tbd</a:t>
            </a:r>
            <a:endParaRPr lang="en-GB" sz="2000" b="1" dirty="0">
              <a:solidFill>
                <a:srgbClr val="000000"/>
              </a:solidFill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n-GB" sz="2000" b="1" dirty="0">
                <a:solidFill>
                  <a:srgbClr val="000000"/>
                </a:solidFill>
              </a:rPr>
              <a:t>Trends – date </a:t>
            </a:r>
            <a:r>
              <a:rPr lang="en-GB" sz="2000" b="1" dirty="0" err="1">
                <a:solidFill>
                  <a:srgbClr val="000000"/>
                </a:solidFill>
              </a:rPr>
              <a:t>tbd</a:t>
            </a:r>
            <a:endParaRPr lang="en-GB" sz="20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8632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PBIG">
      <a:dk1>
        <a:sysClr val="windowText" lastClr="000000"/>
      </a:dk1>
      <a:lt1>
        <a:sysClr val="window" lastClr="FFFFFF"/>
      </a:lt1>
      <a:dk2>
        <a:srgbClr val="44546A"/>
      </a:dk2>
      <a:lt2>
        <a:srgbClr val="F3F2F1"/>
      </a:lt2>
      <a:accent1>
        <a:srgbClr val="12239E"/>
      </a:accent1>
      <a:accent2>
        <a:srgbClr val="B60064"/>
      </a:accent2>
      <a:accent3>
        <a:srgbClr val="C94F0F"/>
      </a:accent3>
      <a:accent4>
        <a:srgbClr val="F2C811"/>
      </a:accent4>
      <a:accent5>
        <a:srgbClr val="4668C5"/>
      </a:accent5>
      <a:accent6>
        <a:srgbClr val="197278"/>
      </a:accent6>
      <a:hlink>
        <a:srgbClr val="0563C1"/>
      </a:hlink>
      <a:folHlink>
        <a:srgbClr val="954F72"/>
      </a:folHlink>
    </a:clrScheme>
    <a:fontScheme name="pbig">
      <a:majorFont>
        <a:latin typeface="Viga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1</TotalTime>
  <Words>378</Words>
  <Application>Microsoft Office PowerPoint</Application>
  <PresentationFormat>Widescreen</PresentationFormat>
  <Paragraphs>71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Segoe UI</vt:lpstr>
      <vt:lpstr>Segoe UI (body)</vt:lpstr>
      <vt:lpstr>Viga</vt:lpstr>
      <vt:lpstr>Kantoorthema</vt:lpstr>
      <vt:lpstr>think-cell Slide</vt:lpstr>
      <vt:lpstr>Elevate the art of possible with the new card and slicer visuals</vt:lpstr>
      <vt:lpstr>PowerPoint Presentation</vt:lpstr>
      <vt:lpstr>Grzegorz (Greg) Strzymiński</vt:lpstr>
      <vt:lpstr>Agenda</vt:lpstr>
      <vt:lpstr>After this session you will be:</vt:lpstr>
      <vt:lpstr>New (button) slicer visual</vt:lpstr>
      <vt:lpstr>New slicer visual timeline</vt:lpstr>
      <vt:lpstr>New card visual</vt:lpstr>
      <vt:lpstr>New card visual timeline</vt:lpstr>
      <vt:lpstr>Live demos</vt:lpstr>
      <vt:lpstr>Key takeaways</vt:lpstr>
      <vt:lpstr>Q&amp;A</vt:lpstr>
      <vt:lpstr>Thank you!</vt:lpstr>
      <vt:lpstr>Session evalu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uisstijl ontwikkeling  Power BI gebruikersgroep</dc:title>
  <dc:creator>lonneke opsteegh</dc:creator>
  <cp:lastModifiedBy>Strzyminski, Grzegorz</cp:lastModifiedBy>
  <cp:revision>15</cp:revision>
  <dcterms:created xsi:type="dcterms:W3CDTF">2022-09-29T20:23:42Z</dcterms:created>
  <dcterms:modified xsi:type="dcterms:W3CDTF">2024-03-09T14:52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e815a84-bb14-486b-9367-c1af54c95fa4_Enabled">
    <vt:lpwstr>true</vt:lpwstr>
  </property>
  <property fmtid="{D5CDD505-2E9C-101B-9397-08002B2CF9AE}" pid="3" name="MSIP_Label_0e815a84-bb14-486b-9367-c1af54c95fa4_SetDate">
    <vt:lpwstr>2024-03-04T14:25:16Z</vt:lpwstr>
  </property>
  <property fmtid="{D5CDD505-2E9C-101B-9397-08002B2CF9AE}" pid="4" name="MSIP_Label_0e815a84-bb14-486b-9367-c1af54c95fa4_Method">
    <vt:lpwstr>Standard</vt:lpwstr>
  </property>
  <property fmtid="{D5CDD505-2E9C-101B-9397-08002B2CF9AE}" pid="5" name="MSIP_Label_0e815a84-bb14-486b-9367-c1af54c95fa4_Name">
    <vt:lpwstr>Standard</vt:lpwstr>
  </property>
  <property fmtid="{D5CDD505-2E9C-101B-9397-08002B2CF9AE}" pid="6" name="MSIP_Label_0e815a84-bb14-486b-9367-c1af54c95fa4_SiteId">
    <vt:lpwstr>5dc645ed-297f-4dca-b0af-2339c71c5388</vt:lpwstr>
  </property>
  <property fmtid="{D5CDD505-2E9C-101B-9397-08002B2CF9AE}" pid="7" name="MSIP_Label_0e815a84-bb14-486b-9367-c1af54c95fa4_ActionId">
    <vt:lpwstr>ada985e8-e95e-4c33-a78f-96f58c12a74e</vt:lpwstr>
  </property>
  <property fmtid="{D5CDD505-2E9C-101B-9397-08002B2CF9AE}" pid="8" name="MSIP_Label_0e815a84-bb14-486b-9367-c1af54c95fa4_ContentBits">
    <vt:lpwstr>0</vt:lpwstr>
  </property>
</Properties>
</file>